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3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20"/>
  </p:notesMasterIdLst>
  <p:sldIdLst>
    <p:sldId id="307" r:id="rId3"/>
    <p:sldId id="327" r:id="rId4"/>
    <p:sldId id="258" r:id="rId5"/>
    <p:sldId id="321" r:id="rId6"/>
    <p:sldId id="301" r:id="rId7"/>
    <p:sldId id="320" r:id="rId8"/>
    <p:sldId id="275" r:id="rId9"/>
    <p:sldId id="306" r:id="rId10"/>
    <p:sldId id="267" r:id="rId11"/>
    <p:sldId id="278" r:id="rId12"/>
    <p:sldId id="309" r:id="rId13"/>
    <p:sldId id="322" r:id="rId14"/>
    <p:sldId id="323" r:id="rId15"/>
    <p:sldId id="325" r:id="rId16"/>
    <p:sldId id="328" r:id="rId17"/>
    <p:sldId id="326" r:id="rId18"/>
    <p:sldId id="318" r:id="rId19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90" autoAdjust="0"/>
    <p:restoredTop sz="99467" autoAdjust="0"/>
  </p:normalViewPr>
  <p:slideViewPr>
    <p:cSldViewPr>
      <p:cViewPr>
        <p:scale>
          <a:sx n="75" d="100"/>
          <a:sy n="75" d="100"/>
        </p:scale>
        <p:origin x="-888" y="-45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hyperlink" Target="../LOAN%20APPLICATION/USE%20CASE/Use%20Case(LAD%20Interview).docx" TargetMode="External"/><Relationship Id="rId2" Type="http://schemas.openxmlformats.org/officeDocument/2006/relationships/hyperlink" Target="../LOAN%20APPLICATION/USE%20CASE/Use%20Case(LAD%20Final%20Approval).docx" TargetMode="External"/><Relationship Id="rId1" Type="http://schemas.openxmlformats.org/officeDocument/2006/relationships/hyperlink" Target="../LOAN%20APPLICATION/USE%20CASE/Customer%20Use%20Case.docx" TargetMode="External"/><Relationship Id="rId5" Type="http://schemas.openxmlformats.org/officeDocument/2006/relationships/hyperlink" Target="../LOAN%20APPLICATION/USE%20CASE/use%20case%20(LAD%20Login).docx" TargetMode="External"/><Relationship Id="rId4" Type="http://schemas.openxmlformats.org/officeDocument/2006/relationships/hyperlink" Target="../LOAN%20APPLICATION/USE%20CASE/Use_Case_PROJECT%20ADMINISTATOR.docx" TargetMode="External"/></Relationships>
</file>

<file path=ppt/diagrams/_rels/data4.xml.rels><?xml version="1.0" encoding="UTF-8" standalone="yes"?>
<Relationships xmlns="http://schemas.openxmlformats.org/package/2006/relationships"><Relationship Id="rId3" Type="http://schemas.openxmlformats.org/officeDocument/2006/relationships/hyperlink" Target="../LOAN%20APPLICATION/DFDR/DFDR.LAD.xlsx" TargetMode="External"/><Relationship Id="rId2" Type="http://schemas.openxmlformats.org/officeDocument/2006/relationships/hyperlink" Target="../LOAN%20APPLICATION/DFDR/DFDR%20Admin.xlsx" TargetMode="External"/><Relationship Id="rId1" Type="http://schemas.openxmlformats.org/officeDocument/2006/relationships/hyperlink" Target="../LOAN%20APPLICATION/DFDR/DFDR.Customer.xlsx" TargetMode="External"/></Relationships>
</file>

<file path=ppt/diagrams/_rels/data5.xml.rels><?xml version="1.0" encoding="UTF-8" standalone="yes"?>
<Relationships xmlns="http://schemas.openxmlformats.org/package/2006/relationships"><Relationship Id="rId1" Type="http://schemas.openxmlformats.org/officeDocument/2006/relationships/hyperlink" Target="https://webmail.in.capgemini.com/owa/redir.aspx?SURL=MCHpTCbiGWp5r3c9EGR-ZOsXBD27vuAX9NSI2Z8TFTfJ_FUu-mbVCGgAdAB0AHAAOgAvAC8AbgBkAGEAZgBpAGwAZQA6ADgAMAA4ADEALwBPAG4AbABpAG4AZQBCAGEAbgBrAGkAbgBnAFAAcgBvAGoAZQBjAHQAUwBwAHIAaQBuAGcALwA.&amp;URL=http://ndafile:8081/OnlineBankingProjectSpring/" TargetMode="External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hyperlink" Target="../LOAN%20APPLICATION/USE%20CASE/Use%20Case(LAD%20Final%20Approval).docx" TargetMode="External"/><Relationship Id="rId2" Type="http://schemas.openxmlformats.org/officeDocument/2006/relationships/hyperlink" Target="../LOAN%20APPLICATION/USE%20CASE/use%20case%20(LAD%20Login).docx" TargetMode="External"/><Relationship Id="rId1" Type="http://schemas.openxmlformats.org/officeDocument/2006/relationships/hyperlink" Target="../LOAN%20APPLICATION/USE%20CASE/Customer%20Use%20Case.docx" TargetMode="External"/><Relationship Id="rId5" Type="http://schemas.openxmlformats.org/officeDocument/2006/relationships/hyperlink" Target="../LOAN%20APPLICATION/USE%20CASE/Use_Case_PROJECT%20ADMINISTATOR.docx" TargetMode="External"/><Relationship Id="rId4" Type="http://schemas.openxmlformats.org/officeDocument/2006/relationships/hyperlink" Target="../LOAN%20APPLICATION/USE%20CASE/Use%20Case(LAD%20Interview).docx" TargetMode="External"/></Relationships>
</file>

<file path=ppt/diagrams/_rels/drawing4.xml.rels><?xml version="1.0" encoding="UTF-8" standalone="yes"?>
<Relationships xmlns="http://schemas.openxmlformats.org/package/2006/relationships"><Relationship Id="rId3" Type="http://schemas.openxmlformats.org/officeDocument/2006/relationships/hyperlink" Target="../LOAN%20APPLICATION/DFDR/DFDR.LAD.xlsx" TargetMode="External"/><Relationship Id="rId2" Type="http://schemas.openxmlformats.org/officeDocument/2006/relationships/hyperlink" Target="../LOAN%20APPLICATION/DFDR/DFDR%20Admin.xlsx" TargetMode="External"/><Relationship Id="rId1" Type="http://schemas.openxmlformats.org/officeDocument/2006/relationships/hyperlink" Target="../LOAN%20APPLICATION/DFDR/DFDR.Customer.xlsx" TargetMode="External"/></Relationships>
</file>

<file path=ppt/diagrams/_rels/drawing5.xml.rels><?xml version="1.0" encoding="UTF-8" standalone="yes"?>
<Relationships xmlns="http://schemas.openxmlformats.org/package/2006/relationships"><Relationship Id="rId1" Type="http://schemas.openxmlformats.org/officeDocument/2006/relationships/hyperlink" Target="https://webmail.in.capgemini.com/owa/redir.aspx?SURL=MCHpTCbiGWp5r3c9EGR-ZOsXBD27vuAX9NSI2Z8TFTfJ_FUu-mbVCGgAdAB0AHAAOgAvAC8AbgBkAGEAZgBpAGwAZQA6ADgAMAA4ADEALwBPAG4AbABpAG4AZQBCAGEAbgBrAGkAbgBnAFAAcgBvAGoAZQBjAHQAUwBwAHIAaQBuAGcALwA.&amp;URL=http://ndafile:8081/OnlineBankingProjectSpring/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EEA9AA4-BEC5-4694-9E9E-BDD3461E5DFB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068DC0D-0AA8-4918-B239-FA7668E6418A}">
      <dgm:prSet/>
      <dgm:spPr/>
      <dgm:t>
        <a:bodyPr/>
        <a:lstStyle/>
        <a:p>
          <a:pPr rtl="0"/>
          <a:r>
            <a:rPr lang="en-IN" b="1" dirty="0" smtClean="0">
              <a:solidFill>
                <a:schemeClr val="bg1"/>
              </a:solidFill>
            </a:rPr>
            <a:t>Raj Subash b		      	 -</a:t>
          </a:r>
          <a:r>
            <a:rPr lang="en-IN" b="1" dirty="0" smtClean="0">
              <a:solidFill>
                <a:schemeClr val="bg1"/>
              </a:solidFill>
            </a:rPr>
            <a:t>093964_IN</a:t>
          </a:r>
          <a:endParaRPr lang="en-US" dirty="0">
            <a:solidFill>
              <a:schemeClr val="bg1"/>
            </a:solidFill>
          </a:endParaRPr>
        </a:p>
      </dgm:t>
    </dgm:pt>
    <dgm:pt modelId="{56243790-6264-4E46-8DCF-7D075A9C153C}" type="parTrans" cxnId="{7A826E2A-2A75-4CD9-808D-BF0A0FC685F8}">
      <dgm:prSet/>
      <dgm:spPr/>
      <dgm:t>
        <a:bodyPr/>
        <a:lstStyle/>
        <a:p>
          <a:endParaRPr lang="en-US"/>
        </a:p>
      </dgm:t>
    </dgm:pt>
    <dgm:pt modelId="{9CC4A47A-865F-4861-A511-869BA7F51C35}" type="sibTrans" cxnId="{7A826E2A-2A75-4CD9-808D-BF0A0FC685F8}">
      <dgm:prSet/>
      <dgm:spPr/>
      <dgm:t>
        <a:bodyPr/>
        <a:lstStyle/>
        <a:p>
          <a:endParaRPr lang="en-US"/>
        </a:p>
      </dgm:t>
    </dgm:pt>
    <dgm:pt modelId="{601403E2-1ADD-48DA-9DA3-4B191A418FC2}">
      <dgm:prSet/>
      <dgm:spPr/>
      <dgm:t>
        <a:bodyPr/>
        <a:lstStyle/>
        <a:p>
          <a:pPr rtl="0"/>
          <a:r>
            <a:rPr lang="en-IN" b="1" dirty="0" smtClean="0">
              <a:solidFill>
                <a:schemeClr val="bg1"/>
              </a:solidFill>
            </a:rPr>
            <a:t>Pavithra Venkatesan                         -</a:t>
          </a:r>
          <a:r>
            <a:rPr lang="en-IN" b="1" dirty="0" smtClean="0">
              <a:solidFill>
                <a:schemeClr val="bg1"/>
              </a:solidFill>
            </a:rPr>
            <a:t>094000_IN</a:t>
          </a:r>
          <a:endParaRPr lang="en-US" dirty="0">
            <a:solidFill>
              <a:schemeClr val="bg1"/>
            </a:solidFill>
          </a:endParaRPr>
        </a:p>
      </dgm:t>
    </dgm:pt>
    <dgm:pt modelId="{40903C17-4F29-4EA3-B90A-FFB7833B4BAE}" type="parTrans" cxnId="{EE47BF5C-BC67-4373-8FA1-47F5037CC361}">
      <dgm:prSet/>
      <dgm:spPr/>
      <dgm:t>
        <a:bodyPr/>
        <a:lstStyle/>
        <a:p>
          <a:endParaRPr lang="en-US"/>
        </a:p>
      </dgm:t>
    </dgm:pt>
    <dgm:pt modelId="{B104E08A-A561-4481-ACF1-D962377464BF}" type="sibTrans" cxnId="{EE47BF5C-BC67-4373-8FA1-47F5037CC361}">
      <dgm:prSet/>
      <dgm:spPr/>
      <dgm:t>
        <a:bodyPr/>
        <a:lstStyle/>
        <a:p>
          <a:endParaRPr lang="en-US"/>
        </a:p>
      </dgm:t>
    </dgm:pt>
    <dgm:pt modelId="{994901EB-5924-494E-975E-DF63F92C24AA}">
      <dgm:prSet/>
      <dgm:spPr/>
      <dgm:t>
        <a:bodyPr/>
        <a:lstStyle/>
        <a:p>
          <a:pPr rtl="0"/>
          <a:r>
            <a:rPr lang="en-IN" b="1" dirty="0" smtClean="0">
              <a:solidFill>
                <a:schemeClr val="bg1"/>
              </a:solidFill>
            </a:rPr>
            <a:t>Laveena  R 		                -</a:t>
          </a:r>
          <a:r>
            <a:rPr lang="en-IN" b="1" dirty="0" smtClean="0">
              <a:solidFill>
                <a:schemeClr val="bg1"/>
              </a:solidFill>
            </a:rPr>
            <a:t>093951_IN</a:t>
          </a:r>
          <a:endParaRPr lang="en-US" dirty="0">
            <a:solidFill>
              <a:schemeClr val="bg1"/>
            </a:solidFill>
          </a:endParaRPr>
        </a:p>
      </dgm:t>
    </dgm:pt>
    <dgm:pt modelId="{7FF05321-1F23-419A-AD9F-543114B3FE0F}" type="parTrans" cxnId="{774EF7B4-C68F-418E-ABD2-A8B39436361B}">
      <dgm:prSet/>
      <dgm:spPr/>
      <dgm:t>
        <a:bodyPr/>
        <a:lstStyle/>
        <a:p>
          <a:endParaRPr lang="en-US"/>
        </a:p>
      </dgm:t>
    </dgm:pt>
    <dgm:pt modelId="{40704607-9009-4108-A91A-9BA22025A766}" type="sibTrans" cxnId="{774EF7B4-C68F-418E-ABD2-A8B39436361B}">
      <dgm:prSet/>
      <dgm:spPr/>
      <dgm:t>
        <a:bodyPr/>
        <a:lstStyle/>
        <a:p>
          <a:endParaRPr lang="en-US"/>
        </a:p>
      </dgm:t>
    </dgm:pt>
    <dgm:pt modelId="{F9900ECB-F73A-4F46-BB59-68FE407750CD}">
      <dgm:prSet/>
      <dgm:spPr/>
      <dgm:t>
        <a:bodyPr/>
        <a:lstStyle/>
        <a:p>
          <a:pPr rtl="0"/>
          <a:r>
            <a:rPr lang="en-IN" b="1" dirty="0" smtClean="0">
              <a:solidFill>
                <a:schemeClr val="bg1"/>
              </a:solidFill>
            </a:rPr>
            <a:t>Vinodhini Mohan                              -</a:t>
          </a:r>
          <a:r>
            <a:rPr lang="en-IN" b="1" dirty="0" smtClean="0">
              <a:solidFill>
                <a:schemeClr val="bg1"/>
              </a:solidFill>
            </a:rPr>
            <a:t>093972_IN</a:t>
          </a:r>
          <a:endParaRPr lang="en-US" dirty="0">
            <a:solidFill>
              <a:schemeClr val="bg1"/>
            </a:solidFill>
          </a:endParaRPr>
        </a:p>
      </dgm:t>
    </dgm:pt>
    <dgm:pt modelId="{E2D9C263-516D-4085-9421-373797E1BBB8}" type="parTrans" cxnId="{6A931A6E-6A2B-48BF-9117-31CC822546DE}">
      <dgm:prSet/>
      <dgm:spPr/>
      <dgm:t>
        <a:bodyPr/>
        <a:lstStyle/>
        <a:p>
          <a:endParaRPr lang="en-US"/>
        </a:p>
      </dgm:t>
    </dgm:pt>
    <dgm:pt modelId="{50E77AF8-767C-4C18-A622-85702D971337}" type="sibTrans" cxnId="{6A931A6E-6A2B-48BF-9117-31CC822546DE}">
      <dgm:prSet/>
      <dgm:spPr/>
      <dgm:t>
        <a:bodyPr/>
        <a:lstStyle/>
        <a:p>
          <a:endParaRPr lang="en-US"/>
        </a:p>
      </dgm:t>
    </dgm:pt>
    <dgm:pt modelId="{99E384EE-2D68-4584-9A1C-7A828B77978E}">
      <dgm:prSet/>
      <dgm:spPr/>
      <dgm:t>
        <a:bodyPr/>
        <a:lstStyle/>
        <a:p>
          <a:pPr rtl="0"/>
          <a:r>
            <a:rPr lang="en-IN" b="1" dirty="0" smtClean="0">
              <a:solidFill>
                <a:schemeClr val="bg1"/>
              </a:solidFill>
            </a:rPr>
            <a:t>Aaqib Ur Rehman   	                -</a:t>
          </a:r>
          <a:r>
            <a:rPr lang="en-IN" b="1" dirty="0" smtClean="0">
              <a:solidFill>
                <a:schemeClr val="bg1"/>
              </a:solidFill>
            </a:rPr>
            <a:t>094049_IN</a:t>
          </a:r>
          <a:endParaRPr lang="en-US" dirty="0">
            <a:solidFill>
              <a:schemeClr val="bg1"/>
            </a:solidFill>
          </a:endParaRPr>
        </a:p>
      </dgm:t>
    </dgm:pt>
    <dgm:pt modelId="{A5676665-0C9C-4D0C-98A8-61A32A280A8E}" type="parTrans" cxnId="{8C863F8B-9592-4EF2-8341-5B5AED42DBEA}">
      <dgm:prSet/>
      <dgm:spPr/>
      <dgm:t>
        <a:bodyPr/>
        <a:lstStyle/>
        <a:p>
          <a:endParaRPr lang="en-US"/>
        </a:p>
      </dgm:t>
    </dgm:pt>
    <dgm:pt modelId="{AFD4442A-AEA6-4D72-B312-6C4170D1448D}" type="sibTrans" cxnId="{8C863F8B-9592-4EF2-8341-5B5AED42DBEA}">
      <dgm:prSet/>
      <dgm:spPr/>
      <dgm:t>
        <a:bodyPr/>
        <a:lstStyle/>
        <a:p>
          <a:endParaRPr lang="en-US"/>
        </a:p>
      </dgm:t>
    </dgm:pt>
    <dgm:pt modelId="{6C507A38-60F4-45EE-8F15-BD01218E3B14}">
      <dgm:prSet/>
      <dgm:spPr/>
      <dgm:t>
        <a:bodyPr/>
        <a:lstStyle/>
        <a:p>
          <a:pPr rtl="0"/>
          <a:r>
            <a:rPr lang="en-IN" b="1" dirty="0" smtClean="0">
              <a:solidFill>
                <a:schemeClr val="bg1"/>
              </a:solidFill>
            </a:rPr>
            <a:t>Bandi Dileep 	                               -</a:t>
          </a:r>
          <a:r>
            <a:rPr lang="en-IN" b="1" dirty="0" smtClean="0">
              <a:solidFill>
                <a:schemeClr val="bg1"/>
              </a:solidFill>
            </a:rPr>
            <a:t>093940_IN</a:t>
          </a:r>
          <a:endParaRPr lang="en-US" dirty="0">
            <a:solidFill>
              <a:schemeClr val="bg1"/>
            </a:solidFill>
          </a:endParaRPr>
        </a:p>
      </dgm:t>
    </dgm:pt>
    <dgm:pt modelId="{2739D92C-195D-46BE-BCD0-14AFEAAF53DE}" type="parTrans" cxnId="{081DDA21-882C-4BFF-8373-3A0D5C3E44AC}">
      <dgm:prSet/>
      <dgm:spPr/>
      <dgm:t>
        <a:bodyPr/>
        <a:lstStyle/>
        <a:p>
          <a:endParaRPr lang="en-US"/>
        </a:p>
      </dgm:t>
    </dgm:pt>
    <dgm:pt modelId="{0589DF74-90C3-4C2C-9213-941152975CEA}" type="sibTrans" cxnId="{081DDA21-882C-4BFF-8373-3A0D5C3E44AC}">
      <dgm:prSet/>
      <dgm:spPr/>
      <dgm:t>
        <a:bodyPr/>
        <a:lstStyle/>
        <a:p>
          <a:endParaRPr lang="en-US"/>
        </a:p>
      </dgm:t>
    </dgm:pt>
    <dgm:pt modelId="{F6B031E4-DF6E-4D8C-80EA-691FDE81FADD}">
      <dgm:prSet/>
      <dgm:spPr/>
      <dgm:t>
        <a:bodyPr/>
        <a:lstStyle/>
        <a:p>
          <a:pPr rtl="0"/>
          <a:r>
            <a:rPr lang="en-IN" b="1" dirty="0" smtClean="0">
              <a:solidFill>
                <a:schemeClr val="bg1"/>
              </a:solidFill>
            </a:rPr>
            <a:t>Rohit Hurkadli	                               -</a:t>
          </a:r>
          <a:r>
            <a:rPr lang="en-IN" b="1" dirty="0" smtClean="0">
              <a:solidFill>
                <a:schemeClr val="bg1"/>
              </a:solidFill>
            </a:rPr>
            <a:t>094048_IN</a:t>
          </a:r>
          <a:endParaRPr lang="en-US" dirty="0">
            <a:solidFill>
              <a:schemeClr val="bg1"/>
            </a:solidFill>
          </a:endParaRPr>
        </a:p>
      </dgm:t>
    </dgm:pt>
    <dgm:pt modelId="{5C6EFFE6-3D5E-406E-8F26-E9133665FE6B}" type="parTrans" cxnId="{BB9733F5-7225-4197-B389-238253216EE2}">
      <dgm:prSet/>
      <dgm:spPr/>
      <dgm:t>
        <a:bodyPr/>
        <a:lstStyle/>
        <a:p>
          <a:endParaRPr lang="en-US"/>
        </a:p>
      </dgm:t>
    </dgm:pt>
    <dgm:pt modelId="{213C531C-58B6-4D4D-B40A-0DE03F12418E}" type="sibTrans" cxnId="{BB9733F5-7225-4197-B389-238253216EE2}">
      <dgm:prSet/>
      <dgm:spPr/>
      <dgm:t>
        <a:bodyPr/>
        <a:lstStyle/>
        <a:p>
          <a:endParaRPr lang="en-US"/>
        </a:p>
      </dgm:t>
    </dgm:pt>
    <dgm:pt modelId="{0E3E84E7-6595-46EE-8970-1086DAE671AC}">
      <dgm:prSet/>
      <dgm:spPr/>
      <dgm:t>
        <a:bodyPr/>
        <a:lstStyle/>
        <a:p>
          <a:pPr rtl="0"/>
          <a:r>
            <a:rPr lang="en-IN" b="1" dirty="0" smtClean="0">
              <a:solidFill>
                <a:schemeClr val="bg1"/>
              </a:solidFill>
            </a:rPr>
            <a:t>Sumit Upadhyay	                               -</a:t>
          </a:r>
          <a:r>
            <a:rPr lang="en-IN" b="1" dirty="0" smtClean="0">
              <a:solidFill>
                <a:schemeClr val="bg1"/>
              </a:solidFill>
            </a:rPr>
            <a:t>093983_IN</a:t>
          </a:r>
          <a:endParaRPr lang="en-US" dirty="0">
            <a:solidFill>
              <a:schemeClr val="bg1"/>
            </a:solidFill>
          </a:endParaRPr>
        </a:p>
      </dgm:t>
    </dgm:pt>
    <dgm:pt modelId="{48A93EB6-C79B-46AF-9F67-872A4396C50A}" type="parTrans" cxnId="{6982F69D-3A15-48F7-BD38-FB9141681AA0}">
      <dgm:prSet/>
      <dgm:spPr/>
      <dgm:t>
        <a:bodyPr/>
        <a:lstStyle/>
        <a:p>
          <a:endParaRPr lang="en-US"/>
        </a:p>
      </dgm:t>
    </dgm:pt>
    <dgm:pt modelId="{D4C681C6-1463-4C04-98A4-6EFC4C2FC5CC}" type="sibTrans" cxnId="{6982F69D-3A15-48F7-BD38-FB9141681AA0}">
      <dgm:prSet/>
      <dgm:spPr/>
      <dgm:t>
        <a:bodyPr/>
        <a:lstStyle/>
        <a:p>
          <a:endParaRPr lang="en-US"/>
        </a:p>
      </dgm:t>
    </dgm:pt>
    <dgm:pt modelId="{8140CAAE-9D05-4FAE-B442-0D186B0A673B}" type="pres">
      <dgm:prSet presAssocID="{0EEA9AA4-BEC5-4694-9E9E-BDD3461E5DFB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30C93B3A-2237-4C70-A356-F50F5A22670C}" type="pres">
      <dgm:prSet presAssocID="{7068DC0D-0AA8-4918-B239-FA7668E6418A}" presName="thickLine" presStyleLbl="alignNode1" presStyleIdx="0" presStyleCnt="8"/>
      <dgm:spPr/>
    </dgm:pt>
    <dgm:pt modelId="{71D70AD5-EA83-43D8-B08E-19146903C511}" type="pres">
      <dgm:prSet presAssocID="{7068DC0D-0AA8-4918-B239-FA7668E6418A}" presName="horz1" presStyleCnt="0"/>
      <dgm:spPr/>
    </dgm:pt>
    <dgm:pt modelId="{BFF2F6AF-4C58-4A89-849F-EAD898AC163C}" type="pres">
      <dgm:prSet presAssocID="{7068DC0D-0AA8-4918-B239-FA7668E6418A}" presName="tx1" presStyleLbl="revTx" presStyleIdx="0" presStyleCnt="8"/>
      <dgm:spPr/>
      <dgm:t>
        <a:bodyPr/>
        <a:lstStyle/>
        <a:p>
          <a:endParaRPr lang="en-US"/>
        </a:p>
      </dgm:t>
    </dgm:pt>
    <dgm:pt modelId="{209C5EC1-24B2-4DA8-94BB-EA04DA3902AA}" type="pres">
      <dgm:prSet presAssocID="{7068DC0D-0AA8-4918-B239-FA7668E6418A}" presName="vert1" presStyleCnt="0"/>
      <dgm:spPr/>
    </dgm:pt>
    <dgm:pt modelId="{F2200187-A2C7-4B86-A565-FB85E3A0CC13}" type="pres">
      <dgm:prSet presAssocID="{601403E2-1ADD-48DA-9DA3-4B191A418FC2}" presName="thickLine" presStyleLbl="alignNode1" presStyleIdx="1" presStyleCnt="8"/>
      <dgm:spPr/>
    </dgm:pt>
    <dgm:pt modelId="{D3AA84C4-0977-4756-A29F-A0DB30A8BFD7}" type="pres">
      <dgm:prSet presAssocID="{601403E2-1ADD-48DA-9DA3-4B191A418FC2}" presName="horz1" presStyleCnt="0"/>
      <dgm:spPr/>
    </dgm:pt>
    <dgm:pt modelId="{48F4252E-DBA7-4B81-89FB-2DA0B8759E9A}" type="pres">
      <dgm:prSet presAssocID="{601403E2-1ADD-48DA-9DA3-4B191A418FC2}" presName="tx1" presStyleLbl="revTx" presStyleIdx="1" presStyleCnt="8"/>
      <dgm:spPr/>
      <dgm:t>
        <a:bodyPr/>
        <a:lstStyle/>
        <a:p>
          <a:endParaRPr lang="en-US"/>
        </a:p>
      </dgm:t>
    </dgm:pt>
    <dgm:pt modelId="{6A365766-CEEB-4AF3-B0ED-4ABCA5AD9508}" type="pres">
      <dgm:prSet presAssocID="{601403E2-1ADD-48DA-9DA3-4B191A418FC2}" presName="vert1" presStyleCnt="0"/>
      <dgm:spPr/>
    </dgm:pt>
    <dgm:pt modelId="{567FEDE5-B75E-4C22-BB68-647FFB0B2D9F}" type="pres">
      <dgm:prSet presAssocID="{994901EB-5924-494E-975E-DF63F92C24AA}" presName="thickLine" presStyleLbl="alignNode1" presStyleIdx="2" presStyleCnt="8"/>
      <dgm:spPr/>
    </dgm:pt>
    <dgm:pt modelId="{E6DF3198-F8E8-4EB1-8775-2803641093B8}" type="pres">
      <dgm:prSet presAssocID="{994901EB-5924-494E-975E-DF63F92C24AA}" presName="horz1" presStyleCnt="0"/>
      <dgm:spPr/>
    </dgm:pt>
    <dgm:pt modelId="{694E3BBD-B96B-4903-ABCB-CCB48751F75C}" type="pres">
      <dgm:prSet presAssocID="{994901EB-5924-494E-975E-DF63F92C24AA}" presName="tx1" presStyleLbl="revTx" presStyleIdx="2" presStyleCnt="8"/>
      <dgm:spPr/>
      <dgm:t>
        <a:bodyPr/>
        <a:lstStyle/>
        <a:p>
          <a:endParaRPr lang="en-US"/>
        </a:p>
      </dgm:t>
    </dgm:pt>
    <dgm:pt modelId="{03AFA7B2-66BA-4F09-94A8-C332868998E2}" type="pres">
      <dgm:prSet presAssocID="{994901EB-5924-494E-975E-DF63F92C24AA}" presName="vert1" presStyleCnt="0"/>
      <dgm:spPr/>
    </dgm:pt>
    <dgm:pt modelId="{6BD9C67A-3250-41AE-9171-8E7E11EBF876}" type="pres">
      <dgm:prSet presAssocID="{F9900ECB-F73A-4F46-BB59-68FE407750CD}" presName="thickLine" presStyleLbl="alignNode1" presStyleIdx="3" presStyleCnt="8"/>
      <dgm:spPr/>
    </dgm:pt>
    <dgm:pt modelId="{3E6B1DB4-7F4D-4238-A821-19FCC3463084}" type="pres">
      <dgm:prSet presAssocID="{F9900ECB-F73A-4F46-BB59-68FE407750CD}" presName="horz1" presStyleCnt="0"/>
      <dgm:spPr/>
    </dgm:pt>
    <dgm:pt modelId="{19865177-4539-4AAB-8DB2-A0ABEF77F0D4}" type="pres">
      <dgm:prSet presAssocID="{F9900ECB-F73A-4F46-BB59-68FE407750CD}" presName="tx1" presStyleLbl="revTx" presStyleIdx="3" presStyleCnt="8"/>
      <dgm:spPr/>
      <dgm:t>
        <a:bodyPr/>
        <a:lstStyle/>
        <a:p>
          <a:endParaRPr lang="en-US"/>
        </a:p>
      </dgm:t>
    </dgm:pt>
    <dgm:pt modelId="{064B56CD-3DBA-4BD4-85CE-0E006379235C}" type="pres">
      <dgm:prSet presAssocID="{F9900ECB-F73A-4F46-BB59-68FE407750CD}" presName="vert1" presStyleCnt="0"/>
      <dgm:spPr/>
    </dgm:pt>
    <dgm:pt modelId="{B149B3F3-9279-4348-93F4-D571B9DCAF60}" type="pres">
      <dgm:prSet presAssocID="{99E384EE-2D68-4584-9A1C-7A828B77978E}" presName="thickLine" presStyleLbl="alignNode1" presStyleIdx="4" presStyleCnt="8"/>
      <dgm:spPr/>
    </dgm:pt>
    <dgm:pt modelId="{451488CE-78A2-4856-8AF9-9798CBA1D900}" type="pres">
      <dgm:prSet presAssocID="{99E384EE-2D68-4584-9A1C-7A828B77978E}" presName="horz1" presStyleCnt="0"/>
      <dgm:spPr/>
    </dgm:pt>
    <dgm:pt modelId="{3332E62F-1EC4-4D60-A69F-AC7C6895DD00}" type="pres">
      <dgm:prSet presAssocID="{99E384EE-2D68-4584-9A1C-7A828B77978E}" presName="tx1" presStyleLbl="revTx" presStyleIdx="4" presStyleCnt="8"/>
      <dgm:spPr/>
      <dgm:t>
        <a:bodyPr/>
        <a:lstStyle/>
        <a:p>
          <a:endParaRPr lang="en-US"/>
        </a:p>
      </dgm:t>
    </dgm:pt>
    <dgm:pt modelId="{36E04F0E-F30F-4BE3-A914-13BF8D64DE22}" type="pres">
      <dgm:prSet presAssocID="{99E384EE-2D68-4584-9A1C-7A828B77978E}" presName="vert1" presStyleCnt="0"/>
      <dgm:spPr/>
    </dgm:pt>
    <dgm:pt modelId="{4840220C-9ACF-4733-B08C-760FBE1AF606}" type="pres">
      <dgm:prSet presAssocID="{6C507A38-60F4-45EE-8F15-BD01218E3B14}" presName="thickLine" presStyleLbl="alignNode1" presStyleIdx="5" presStyleCnt="8"/>
      <dgm:spPr/>
    </dgm:pt>
    <dgm:pt modelId="{69C43B82-0156-4D4B-BE0E-A9A049BD98C1}" type="pres">
      <dgm:prSet presAssocID="{6C507A38-60F4-45EE-8F15-BD01218E3B14}" presName="horz1" presStyleCnt="0"/>
      <dgm:spPr/>
    </dgm:pt>
    <dgm:pt modelId="{799DEE9B-D586-4443-AA54-D03AA915BFAA}" type="pres">
      <dgm:prSet presAssocID="{6C507A38-60F4-45EE-8F15-BD01218E3B14}" presName="tx1" presStyleLbl="revTx" presStyleIdx="5" presStyleCnt="8"/>
      <dgm:spPr/>
      <dgm:t>
        <a:bodyPr/>
        <a:lstStyle/>
        <a:p>
          <a:endParaRPr lang="en-US"/>
        </a:p>
      </dgm:t>
    </dgm:pt>
    <dgm:pt modelId="{F8613ACF-22AA-4F31-AD67-A16473D4FC1A}" type="pres">
      <dgm:prSet presAssocID="{6C507A38-60F4-45EE-8F15-BD01218E3B14}" presName="vert1" presStyleCnt="0"/>
      <dgm:spPr/>
    </dgm:pt>
    <dgm:pt modelId="{61134A02-2F8C-4B53-BED6-5ECF95F82B56}" type="pres">
      <dgm:prSet presAssocID="{F6B031E4-DF6E-4D8C-80EA-691FDE81FADD}" presName="thickLine" presStyleLbl="alignNode1" presStyleIdx="6" presStyleCnt="8"/>
      <dgm:spPr/>
    </dgm:pt>
    <dgm:pt modelId="{C2D3C2F9-9F01-4254-BAE4-1AA0B3F40D06}" type="pres">
      <dgm:prSet presAssocID="{F6B031E4-DF6E-4D8C-80EA-691FDE81FADD}" presName="horz1" presStyleCnt="0"/>
      <dgm:spPr/>
    </dgm:pt>
    <dgm:pt modelId="{3C49DE50-8F13-4B35-B018-021D11FF83C3}" type="pres">
      <dgm:prSet presAssocID="{F6B031E4-DF6E-4D8C-80EA-691FDE81FADD}" presName="tx1" presStyleLbl="revTx" presStyleIdx="6" presStyleCnt="8"/>
      <dgm:spPr/>
      <dgm:t>
        <a:bodyPr/>
        <a:lstStyle/>
        <a:p>
          <a:endParaRPr lang="en-US"/>
        </a:p>
      </dgm:t>
    </dgm:pt>
    <dgm:pt modelId="{37C4FB8A-B0AB-4062-A358-D558A546B2AF}" type="pres">
      <dgm:prSet presAssocID="{F6B031E4-DF6E-4D8C-80EA-691FDE81FADD}" presName="vert1" presStyleCnt="0"/>
      <dgm:spPr/>
    </dgm:pt>
    <dgm:pt modelId="{CCF0CF31-70F2-44E9-9B54-181BD9458C73}" type="pres">
      <dgm:prSet presAssocID="{0E3E84E7-6595-46EE-8970-1086DAE671AC}" presName="thickLine" presStyleLbl="alignNode1" presStyleIdx="7" presStyleCnt="8"/>
      <dgm:spPr/>
    </dgm:pt>
    <dgm:pt modelId="{80541B00-1B86-4950-AE9B-3003F8AD4BE6}" type="pres">
      <dgm:prSet presAssocID="{0E3E84E7-6595-46EE-8970-1086DAE671AC}" presName="horz1" presStyleCnt="0"/>
      <dgm:spPr/>
    </dgm:pt>
    <dgm:pt modelId="{185EA976-DC99-4B96-9519-34D7E71AAAC2}" type="pres">
      <dgm:prSet presAssocID="{0E3E84E7-6595-46EE-8970-1086DAE671AC}" presName="tx1" presStyleLbl="revTx" presStyleIdx="7" presStyleCnt="8"/>
      <dgm:spPr/>
      <dgm:t>
        <a:bodyPr/>
        <a:lstStyle/>
        <a:p>
          <a:endParaRPr lang="en-US"/>
        </a:p>
      </dgm:t>
    </dgm:pt>
    <dgm:pt modelId="{9902D2C0-C017-4945-8D22-9DAC9D0CEDF4}" type="pres">
      <dgm:prSet presAssocID="{0E3E84E7-6595-46EE-8970-1086DAE671AC}" presName="vert1" presStyleCnt="0"/>
      <dgm:spPr/>
    </dgm:pt>
  </dgm:ptLst>
  <dgm:cxnLst>
    <dgm:cxn modelId="{83E49F09-F7FA-43A7-A907-217A7D1455E2}" type="presOf" srcId="{601403E2-1ADD-48DA-9DA3-4B191A418FC2}" destId="{48F4252E-DBA7-4B81-89FB-2DA0B8759E9A}" srcOrd="0" destOrd="0" presId="urn:microsoft.com/office/officeart/2008/layout/LinedList"/>
    <dgm:cxn modelId="{6A931A6E-6A2B-48BF-9117-31CC822546DE}" srcId="{0EEA9AA4-BEC5-4694-9E9E-BDD3461E5DFB}" destId="{F9900ECB-F73A-4F46-BB59-68FE407750CD}" srcOrd="3" destOrd="0" parTransId="{E2D9C263-516D-4085-9421-373797E1BBB8}" sibTransId="{50E77AF8-767C-4C18-A622-85702D971337}"/>
    <dgm:cxn modelId="{8C863F8B-9592-4EF2-8341-5B5AED42DBEA}" srcId="{0EEA9AA4-BEC5-4694-9E9E-BDD3461E5DFB}" destId="{99E384EE-2D68-4584-9A1C-7A828B77978E}" srcOrd="4" destOrd="0" parTransId="{A5676665-0C9C-4D0C-98A8-61A32A280A8E}" sibTransId="{AFD4442A-AEA6-4D72-B312-6C4170D1448D}"/>
    <dgm:cxn modelId="{5361E719-79AD-4628-877D-3FE3B05DE894}" type="presOf" srcId="{0E3E84E7-6595-46EE-8970-1086DAE671AC}" destId="{185EA976-DC99-4B96-9519-34D7E71AAAC2}" srcOrd="0" destOrd="0" presId="urn:microsoft.com/office/officeart/2008/layout/LinedList"/>
    <dgm:cxn modelId="{081DDA21-882C-4BFF-8373-3A0D5C3E44AC}" srcId="{0EEA9AA4-BEC5-4694-9E9E-BDD3461E5DFB}" destId="{6C507A38-60F4-45EE-8F15-BD01218E3B14}" srcOrd="5" destOrd="0" parTransId="{2739D92C-195D-46BE-BCD0-14AFEAAF53DE}" sibTransId="{0589DF74-90C3-4C2C-9213-941152975CEA}"/>
    <dgm:cxn modelId="{7A826E2A-2A75-4CD9-808D-BF0A0FC685F8}" srcId="{0EEA9AA4-BEC5-4694-9E9E-BDD3461E5DFB}" destId="{7068DC0D-0AA8-4918-B239-FA7668E6418A}" srcOrd="0" destOrd="0" parTransId="{56243790-6264-4E46-8DCF-7D075A9C153C}" sibTransId="{9CC4A47A-865F-4861-A511-869BA7F51C35}"/>
    <dgm:cxn modelId="{EE47BF5C-BC67-4373-8FA1-47F5037CC361}" srcId="{0EEA9AA4-BEC5-4694-9E9E-BDD3461E5DFB}" destId="{601403E2-1ADD-48DA-9DA3-4B191A418FC2}" srcOrd="1" destOrd="0" parTransId="{40903C17-4F29-4EA3-B90A-FFB7833B4BAE}" sibTransId="{B104E08A-A561-4481-ACF1-D962377464BF}"/>
    <dgm:cxn modelId="{6982F69D-3A15-48F7-BD38-FB9141681AA0}" srcId="{0EEA9AA4-BEC5-4694-9E9E-BDD3461E5DFB}" destId="{0E3E84E7-6595-46EE-8970-1086DAE671AC}" srcOrd="7" destOrd="0" parTransId="{48A93EB6-C79B-46AF-9F67-872A4396C50A}" sibTransId="{D4C681C6-1463-4C04-98A4-6EFC4C2FC5CC}"/>
    <dgm:cxn modelId="{BB9733F5-7225-4197-B389-238253216EE2}" srcId="{0EEA9AA4-BEC5-4694-9E9E-BDD3461E5DFB}" destId="{F6B031E4-DF6E-4D8C-80EA-691FDE81FADD}" srcOrd="6" destOrd="0" parTransId="{5C6EFFE6-3D5E-406E-8F26-E9133665FE6B}" sibTransId="{213C531C-58B6-4D4D-B40A-0DE03F12418E}"/>
    <dgm:cxn modelId="{91E2986A-22A2-4D3F-95D3-04DA7D7A9ECA}" type="presOf" srcId="{F9900ECB-F73A-4F46-BB59-68FE407750CD}" destId="{19865177-4539-4AAB-8DB2-A0ABEF77F0D4}" srcOrd="0" destOrd="0" presId="urn:microsoft.com/office/officeart/2008/layout/LinedList"/>
    <dgm:cxn modelId="{774EF7B4-C68F-418E-ABD2-A8B39436361B}" srcId="{0EEA9AA4-BEC5-4694-9E9E-BDD3461E5DFB}" destId="{994901EB-5924-494E-975E-DF63F92C24AA}" srcOrd="2" destOrd="0" parTransId="{7FF05321-1F23-419A-AD9F-543114B3FE0F}" sibTransId="{40704607-9009-4108-A91A-9BA22025A766}"/>
    <dgm:cxn modelId="{21886538-E59C-4E13-B821-D0950870EDF7}" type="presOf" srcId="{994901EB-5924-494E-975E-DF63F92C24AA}" destId="{694E3BBD-B96B-4903-ABCB-CCB48751F75C}" srcOrd="0" destOrd="0" presId="urn:microsoft.com/office/officeart/2008/layout/LinedList"/>
    <dgm:cxn modelId="{999E11C0-C4E6-4631-AC1F-9BE2E13F940F}" type="presOf" srcId="{7068DC0D-0AA8-4918-B239-FA7668E6418A}" destId="{BFF2F6AF-4C58-4A89-849F-EAD898AC163C}" srcOrd="0" destOrd="0" presId="urn:microsoft.com/office/officeart/2008/layout/LinedList"/>
    <dgm:cxn modelId="{43074E64-AA09-4766-A303-A7616984F1CE}" type="presOf" srcId="{6C507A38-60F4-45EE-8F15-BD01218E3B14}" destId="{799DEE9B-D586-4443-AA54-D03AA915BFAA}" srcOrd="0" destOrd="0" presId="urn:microsoft.com/office/officeart/2008/layout/LinedList"/>
    <dgm:cxn modelId="{D2DBC958-1430-4E5B-AC0C-B06A0E39CA0D}" type="presOf" srcId="{99E384EE-2D68-4584-9A1C-7A828B77978E}" destId="{3332E62F-1EC4-4D60-A69F-AC7C6895DD00}" srcOrd="0" destOrd="0" presId="urn:microsoft.com/office/officeart/2008/layout/LinedList"/>
    <dgm:cxn modelId="{9A6CF73A-E9CA-4EBF-968C-BEE495E20A8E}" type="presOf" srcId="{F6B031E4-DF6E-4D8C-80EA-691FDE81FADD}" destId="{3C49DE50-8F13-4B35-B018-021D11FF83C3}" srcOrd="0" destOrd="0" presId="urn:microsoft.com/office/officeart/2008/layout/LinedList"/>
    <dgm:cxn modelId="{544CFAFC-873A-4FF1-9236-C4D84ACD344E}" type="presOf" srcId="{0EEA9AA4-BEC5-4694-9E9E-BDD3461E5DFB}" destId="{8140CAAE-9D05-4FAE-B442-0D186B0A673B}" srcOrd="0" destOrd="0" presId="urn:microsoft.com/office/officeart/2008/layout/LinedList"/>
    <dgm:cxn modelId="{1046B1C1-E163-4622-9CBF-C01F845AF8C9}" type="presParOf" srcId="{8140CAAE-9D05-4FAE-B442-0D186B0A673B}" destId="{30C93B3A-2237-4C70-A356-F50F5A22670C}" srcOrd="0" destOrd="0" presId="urn:microsoft.com/office/officeart/2008/layout/LinedList"/>
    <dgm:cxn modelId="{118142C9-0EF6-4D0A-A4A8-B866CADEBB7F}" type="presParOf" srcId="{8140CAAE-9D05-4FAE-B442-0D186B0A673B}" destId="{71D70AD5-EA83-43D8-B08E-19146903C511}" srcOrd="1" destOrd="0" presId="urn:microsoft.com/office/officeart/2008/layout/LinedList"/>
    <dgm:cxn modelId="{147F37B8-95BD-4AD8-9E1A-92B0AE4254A1}" type="presParOf" srcId="{71D70AD5-EA83-43D8-B08E-19146903C511}" destId="{BFF2F6AF-4C58-4A89-849F-EAD898AC163C}" srcOrd="0" destOrd="0" presId="urn:microsoft.com/office/officeart/2008/layout/LinedList"/>
    <dgm:cxn modelId="{B210E042-74A0-41D3-ABA4-5C59FE4431BE}" type="presParOf" srcId="{71D70AD5-EA83-43D8-B08E-19146903C511}" destId="{209C5EC1-24B2-4DA8-94BB-EA04DA3902AA}" srcOrd="1" destOrd="0" presId="urn:microsoft.com/office/officeart/2008/layout/LinedList"/>
    <dgm:cxn modelId="{D806129B-26CF-4C65-B816-C95317ECF3F8}" type="presParOf" srcId="{8140CAAE-9D05-4FAE-B442-0D186B0A673B}" destId="{F2200187-A2C7-4B86-A565-FB85E3A0CC13}" srcOrd="2" destOrd="0" presId="urn:microsoft.com/office/officeart/2008/layout/LinedList"/>
    <dgm:cxn modelId="{F636A4F3-E0E7-4AC3-AAD2-BF9AB50E0EDF}" type="presParOf" srcId="{8140CAAE-9D05-4FAE-B442-0D186B0A673B}" destId="{D3AA84C4-0977-4756-A29F-A0DB30A8BFD7}" srcOrd="3" destOrd="0" presId="urn:microsoft.com/office/officeart/2008/layout/LinedList"/>
    <dgm:cxn modelId="{48AA4368-7050-4FFB-AC45-3EE3C3D9321C}" type="presParOf" srcId="{D3AA84C4-0977-4756-A29F-A0DB30A8BFD7}" destId="{48F4252E-DBA7-4B81-89FB-2DA0B8759E9A}" srcOrd="0" destOrd="0" presId="urn:microsoft.com/office/officeart/2008/layout/LinedList"/>
    <dgm:cxn modelId="{DAE8BEA7-18C4-4FF5-B0C4-D80721B3AD5F}" type="presParOf" srcId="{D3AA84C4-0977-4756-A29F-A0DB30A8BFD7}" destId="{6A365766-CEEB-4AF3-B0ED-4ABCA5AD9508}" srcOrd="1" destOrd="0" presId="urn:microsoft.com/office/officeart/2008/layout/LinedList"/>
    <dgm:cxn modelId="{2587AA32-288A-4F26-AD2C-135DE0EC5351}" type="presParOf" srcId="{8140CAAE-9D05-4FAE-B442-0D186B0A673B}" destId="{567FEDE5-B75E-4C22-BB68-647FFB0B2D9F}" srcOrd="4" destOrd="0" presId="urn:microsoft.com/office/officeart/2008/layout/LinedList"/>
    <dgm:cxn modelId="{8B0F7537-85D2-4CA4-B001-855C38AC9207}" type="presParOf" srcId="{8140CAAE-9D05-4FAE-B442-0D186B0A673B}" destId="{E6DF3198-F8E8-4EB1-8775-2803641093B8}" srcOrd="5" destOrd="0" presId="urn:microsoft.com/office/officeart/2008/layout/LinedList"/>
    <dgm:cxn modelId="{CF731FFA-5065-4178-BEAB-62277A3FE25E}" type="presParOf" srcId="{E6DF3198-F8E8-4EB1-8775-2803641093B8}" destId="{694E3BBD-B96B-4903-ABCB-CCB48751F75C}" srcOrd="0" destOrd="0" presId="urn:microsoft.com/office/officeart/2008/layout/LinedList"/>
    <dgm:cxn modelId="{467975C7-C48E-4BE0-AA82-835454315F5D}" type="presParOf" srcId="{E6DF3198-F8E8-4EB1-8775-2803641093B8}" destId="{03AFA7B2-66BA-4F09-94A8-C332868998E2}" srcOrd="1" destOrd="0" presId="urn:microsoft.com/office/officeart/2008/layout/LinedList"/>
    <dgm:cxn modelId="{8DA55753-DC34-4222-8CF5-C2F22B404585}" type="presParOf" srcId="{8140CAAE-9D05-4FAE-B442-0D186B0A673B}" destId="{6BD9C67A-3250-41AE-9171-8E7E11EBF876}" srcOrd="6" destOrd="0" presId="urn:microsoft.com/office/officeart/2008/layout/LinedList"/>
    <dgm:cxn modelId="{B42062BC-6FAE-428A-8600-68F0C375699D}" type="presParOf" srcId="{8140CAAE-9D05-4FAE-B442-0D186B0A673B}" destId="{3E6B1DB4-7F4D-4238-A821-19FCC3463084}" srcOrd="7" destOrd="0" presId="urn:microsoft.com/office/officeart/2008/layout/LinedList"/>
    <dgm:cxn modelId="{F0283144-0E22-4EC0-B1A3-7E85B3F20DD4}" type="presParOf" srcId="{3E6B1DB4-7F4D-4238-A821-19FCC3463084}" destId="{19865177-4539-4AAB-8DB2-A0ABEF77F0D4}" srcOrd="0" destOrd="0" presId="urn:microsoft.com/office/officeart/2008/layout/LinedList"/>
    <dgm:cxn modelId="{FBBFFEEE-678E-4346-93B1-E7317FB97A5E}" type="presParOf" srcId="{3E6B1DB4-7F4D-4238-A821-19FCC3463084}" destId="{064B56CD-3DBA-4BD4-85CE-0E006379235C}" srcOrd="1" destOrd="0" presId="urn:microsoft.com/office/officeart/2008/layout/LinedList"/>
    <dgm:cxn modelId="{D1F43912-4CF6-4785-AE4F-4ACB91E1C1F1}" type="presParOf" srcId="{8140CAAE-9D05-4FAE-B442-0D186B0A673B}" destId="{B149B3F3-9279-4348-93F4-D571B9DCAF60}" srcOrd="8" destOrd="0" presId="urn:microsoft.com/office/officeart/2008/layout/LinedList"/>
    <dgm:cxn modelId="{EE3E25CE-49D3-4409-B714-ACFF207CA0D0}" type="presParOf" srcId="{8140CAAE-9D05-4FAE-B442-0D186B0A673B}" destId="{451488CE-78A2-4856-8AF9-9798CBA1D900}" srcOrd="9" destOrd="0" presId="urn:microsoft.com/office/officeart/2008/layout/LinedList"/>
    <dgm:cxn modelId="{E388A8D2-DF0F-45D2-92A3-01256E81E015}" type="presParOf" srcId="{451488CE-78A2-4856-8AF9-9798CBA1D900}" destId="{3332E62F-1EC4-4D60-A69F-AC7C6895DD00}" srcOrd="0" destOrd="0" presId="urn:microsoft.com/office/officeart/2008/layout/LinedList"/>
    <dgm:cxn modelId="{222BF5A7-9DD1-4284-9EC3-19ED89DA5C96}" type="presParOf" srcId="{451488CE-78A2-4856-8AF9-9798CBA1D900}" destId="{36E04F0E-F30F-4BE3-A914-13BF8D64DE22}" srcOrd="1" destOrd="0" presId="urn:microsoft.com/office/officeart/2008/layout/LinedList"/>
    <dgm:cxn modelId="{A7501890-CDE7-4AF7-B248-44084BC872B2}" type="presParOf" srcId="{8140CAAE-9D05-4FAE-B442-0D186B0A673B}" destId="{4840220C-9ACF-4733-B08C-760FBE1AF606}" srcOrd="10" destOrd="0" presId="urn:microsoft.com/office/officeart/2008/layout/LinedList"/>
    <dgm:cxn modelId="{39E2990A-668B-45CF-9771-A2067D17C58C}" type="presParOf" srcId="{8140CAAE-9D05-4FAE-B442-0D186B0A673B}" destId="{69C43B82-0156-4D4B-BE0E-A9A049BD98C1}" srcOrd="11" destOrd="0" presId="urn:microsoft.com/office/officeart/2008/layout/LinedList"/>
    <dgm:cxn modelId="{194CBF4D-251E-4949-A7AC-C39A4BA7511D}" type="presParOf" srcId="{69C43B82-0156-4D4B-BE0E-A9A049BD98C1}" destId="{799DEE9B-D586-4443-AA54-D03AA915BFAA}" srcOrd="0" destOrd="0" presId="urn:microsoft.com/office/officeart/2008/layout/LinedList"/>
    <dgm:cxn modelId="{35AD3D03-4093-47DD-9FE3-DC2822BFEBDF}" type="presParOf" srcId="{69C43B82-0156-4D4B-BE0E-A9A049BD98C1}" destId="{F8613ACF-22AA-4F31-AD67-A16473D4FC1A}" srcOrd="1" destOrd="0" presId="urn:microsoft.com/office/officeart/2008/layout/LinedList"/>
    <dgm:cxn modelId="{8ED8E994-B077-49AF-A25B-CE74D2ACE4CB}" type="presParOf" srcId="{8140CAAE-9D05-4FAE-B442-0D186B0A673B}" destId="{61134A02-2F8C-4B53-BED6-5ECF95F82B56}" srcOrd="12" destOrd="0" presId="urn:microsoft.com/office/officeart/2008/layout/LinedList"/>
    <dgm:cxn modelId="{B2D87915-45F3-4BFC-8EFD-6C80EE5E0560}" type="presParOf" srcId="{8140CAAE-9D05-4FAE-B442-0D186B0A673B}" destId="{C2D3C2F9-9F01-4254-BAE4-1AA0B3F40D06}" srcOrd="13" destOrd="0" presId="urn:microsoft.com/office/officeart/2008/layout/LinedList"/>
    <dgm:cxn modelId="{9DE74F39-CC09-4AFA-AA75-956D3466AD2B}" type="presParOf" srcId="{C2D3C2F9-9F01-4254-BAE4-1AA0B3F40D06}" destId="{3C49DE50-8F13-4B35-B018-021D11FF83C3}" srcOrd="0" destOrd="0" presId="urn:microsoft.com/office/officeart/2008/layout/LinedList"/>
    <dgm:cxn modelId="{81491175-1099-4808-8259-48E842E8EFBD}" type="presParOf" srcId="{C2D3C2F9-9F01-4254-BAE4-1AA0B3F40D06}" destId="{37C4FB8A-B0AB-4062-A358-D558A546B2AF}" srcOrd="1" destOrd="0" presId="urn:microsoft.com/office/officeart/2008/layout/LinedList"/>
    <dgm:cxn modelId="{596B59E8-A2DA-4FB6-A80B-5431851D22BF}" type="presParOf" srcId="{8140CAAE-9D05-4FAE-B442-0D186B0A673B}" destId="{CCF0CF31-70F2-44E9-9B54-181BD9458C73}" srcOrd="14" destOrd="0" presId="urn:microsoft.com/office/officeart/2008/layout/LinedList"/>
    <dgm:cxn modelId="{0DA2F0E4-3938-4841-8019-CE333962741B}" type="presParOf" srcId="{8140CAAE-9D05-4FAE-B442-0D186B0A673B}" destId="{80541B00-1B86-4950-AE9B-3003F8AD4BE6}" srcOrd="15" destOrd="0" presId="urn:microsoft.com/office/officeart/2008/layout/LinedList"/>
    <dgm:cxn modelId="{DBDB8058-C344-4130-8B6A-CE48C6DB8D6E}" type="presParOf" srcId="{80541B00-1B86-4950-AE9B-3003F8AD4BE6}" destId="{185EA976-DC99-4B96-9519-34D7E71AAAC2}" srcOrd="0" destOrd="0" presId="urn:microsoft.com/office/officeart/2008/layout/LinedList"/>
    <dgm:cxn modelId="{2D21B8E3-B8E2-460B-80E8-F804F415EB0B}" type="presParOf" srcId="{80541B00-1B86-4950-AE9B-3003F8AD4BE6}" destId="{9902D2C0-C017-4945-8D22-9DAC9D0CEDF4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F1B9575-462F-4F08-989F-83FDEDF76CFC}" type="doc">
      <dgm:prSet loTypeId="urn:microsoft.com/office/officeart/2005/8/layout/process4" loCatId="list" qsTypeId="urn:microsoft.com/office/officeart/2005/8/quickstyle/3d4" qsCatId="3D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42B31C8F-56F5-4BB9-B308-6FF1C95571AC}">
      <dgm:prSet/>
      <dgm:spPr/>
      <dgm:t>
        <a:bodyPr/>
        <a:lstStyle/>
        <a:p>
          <a:pPr rtl="0"/>
          <a:r>
            <a:rPr lang="en-US" b="0" dirty="0" smtClean="0">
              <a:latin typeface="Segoe UI Symbol" panose="020B0502040204020203" pitchFamily="34" charset="0"/>
              <a:ea typeface="Segoe UI Symbol" panose="020B0502040204020203" pitchFamily="34" charset="0"/>
              <a:cs typeface="Times New Roman" panose="02020603050405020304" pitchFamily="18" charset="0"/>
            </a:rPr>
            <a:t>A test case is a set of conditions or variables under which a tester will determine whether a system under test satisfies requirements or works correctly.</a:t>
          </a:r>
          <a:endParaRPr lang="en-US" b="0" dirty="0">
            <a:latin typeface="Segoe UI Symbol" panose="020B0502040204020203" pitchFamily="34" charset="0"/>
            <a:ea typeface="Segoe UI Symbol" panose="020B0502040204020203" pitchFamily="34" charset="0"/>
            <a:cs typeface="Times New Roman" panose="02020603050405020304" pitchFamily="18" charset="0"/>
          </a:endParaRPr>
        </a:p>
      </dgm:t>
    </dgm:pt>
    <dgm:pt modelId="{F863752A-3956-47DB-A0FA-AFC71F0E884C}" type="parTrans" cxnId="{7BA8B495-52DD-4811-A65A-FC997A457F16}">
      <dgm:prSet/>
      <dgm:spPr/>
      <dgm:t>
        <a:bodyPr/>
        <a:lstStyle/>
        <a:p>
          <a:endParaRPr lang="en-US"/>
        </a:p>
      </dgm:t>
    </dgm:pt>
    <dgm:pt modelId="{641C9A1F-B884-4A6F-9AE0-DE5B8DDADBC5}" type="sibTrans" cxnId="{7BA8B495-52DD-4811-A65A-FC997A457F16}">
      <dgm:prSet/>
      <dgm:spPr/>
      <dgm:t>
        <a:bodyPr/>
        <a:lstStyle/>
        <a:p>
          <a:endParaRPr lang="en-US"/>
        </a:p>
      </dgm:t>
    </dgm:pt>
    <dgm:pt modelId="{01F0EC7B-7762-4846-B284-5762C806315C}">
      <dgm:prSet/>
      <dgm:spPr/>
      <dgm:t>
        <a:bodyPr/>
        <a:lstStyle/>
        <a:p>
          <a:pPr rtl="0"/>
          <a:r>
            <a:rPr lang="en-US" b="1" dirty="0" smtClean="0"/>
            <a:t>No. of Test Cases</a:t>
          </a:r>
          <a:r>
            <a:rPr lang="en-US" b="0" dirty="0" smtClean="0"/>
            <a:t>:</a:t>
          </a:r>
          <a:endParaRPr lang="en-US" dirty="0"/>
        </a:p>
      </dgm:t>
    </dgm:pt>
    <dgm:pt modelId="{20D74B8D-B095-4D90-856F-981DD63E0532}" type="parTrans" cxnId="{6840EC6B-82F4-42A8-8B5D-AE42316302DC}">
      <dgm:prSet/>
      <dgm:spPr/>
      <dgm:t>
        <a:bodyPr/>
        <a:lstStyle/>
        <a:p>
          <a:endParaRPr lang="en-US"/>
        </a:p>
      </dgm:t>
    </dgm:pt>
    <dgm:pt modelId="{E2CBA76B-63E2-493C-A5B7-35AE67474CCD}" type="sibTrans" cxnId="{6840EC6B-82F4-42A8-8B5D-AE42316302DC}">
      <dgm:prSet/>
      <dgm:spPr/>
      <dgm:t>
        <a:bodyPr/>
        <a:lstStyle/>
        <a:p>
          <a:endParaRPr lang="en-US"/>
        </a:p>
      </dgm:t>
    </dgm:pt>
    <dgm:pt modelId="{561D866D-6125-4F7D-AD23-8CF7AA113FD2}">
      <dgm:prSet/>
      <dgm:spPr/>
      <dgm:t>
        <a:bodyPr/>
        <a:lstStyle/>
        <a:p>
          <a:pPr rtl="0"/>
          <a:r>
            <a:rPr lang="en-US" b="1" dirty="0" smtClean="0"/>
            <a:t>No. of Test Cases Passed:</a:t>
          </a:r>
          <a:endParaRPr lang="en-US" dirty="0"/>
        </a:p>
      </dgm:t>
    </dgm:pt>
    <dgm:pt modelId="{BDB674A8-A25B-4CC3-9AE9-39CC2F6FD744}" type="parTrans" cxnId="{988FF92F-7610-4CCA-8DDC-7EF8E33F5D6E}">
      <dgm:prSet/>
      <dgm:spPr/>
      <dgm:t>
        <a:bodyPr/>
        <a:lstStyle/>
        <a:p>
          <a:endParaRPr lang="en-US"/>
        </a:p>
      </dgm:t>
    </dgm:pt>
    <dgm:pt modelId="{783B9596-B532-4F62-BED6-CBF2DD2C8DAC}" type="sibTrans" cxnId="{988FF92F-7610-4CCA-8DDC-7EF8E33F5D6E}">
      <dgm:prSet/>
      <dgm:spPr/>
      <dgm:t>
        <a:bodyPr/>
        <a:lstStyle/>
        <a:p>
          <a:endParaRPr lang="en-US"/>
        </a:p>
      </dgm:t>
    </dgm:pt>
    <dgm:pt modelId="{015FA973-FF1A-448A-9873-51E550AAB7C9}">
      <dgm:prSet/>
      <dgm:spPr/>
      <dgm:t>
        <a:bodyPr/>
        <a:lstStyle/>
        <a:p>
          <a:pPr rtl="0"/>
          <a:r>
            <a:rPr lang="en-US" b="1" dirty="0" smtClean="0"/>
            <a:t>No. of Test Cases Failed:</a:t>
          </a:r>
          <a:endParaRPr lang="en-US" dirty="0"/>
        </a:p>
      </dgm:t>
    </dgm:pt>
    <dgm:pt modelId="{E374A995-81CB-4BCB-A11E-EBED0107A139}" type="parTrans" cxnId="{F17A1C22-5702-4496-83D9-33B153084AF9}">
      <dgm:prSet/>
      <dgm:spPr/>
      <dgm:t>
        <a:bodyPr/>
        <a:lstStyle/>
        <a:p>
          <a:endParaRPr lang="en-US"/>
        </a:p>
      </dgm:t>
    </dgm:pt>
    <dgm:pt modelId="{E0A69227-A601-4CC9-9497-04FB71F907F6}" type="sibTrans" cxnId="{F17A1C22-5702-4496-83D9-33B153084AF9}">
      <dgm:prSet/>
      <dgm:spPr/>
      <dgm:t>
        <a:bodyPr/>
        <a:lstStyle/>
        <a:p>
          <a:endParaRPr lang="en-US"/>
        </a:p>
      </dgm:t>
    </dgm:pt>
    <dgm:pt modelId="{97BBB5C0-66B0-4E0A-901F-104134BD0647}" type="pres">
      <dgm:prSet presAssocID="{DF1B9575-462F-4F08-989F-83FDEDF76CFC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130C2CA-ECA9-4370-9364-6A5D742335B2}" type="pres">
      <dgm:prSet presAssocID="{42B31C8F-56F5-4BB9-B308-6FF1C95571AC}" presName="boxAndChildren" presStyleCnt="0"/>
      <dgm:spPr/>
      <dgm:t>
        <a:bodyPr/>
        <a:lstStyle/>
        <a:p>
          <a:endParaRPr lang="en-US"/>
        </a:p>
      </dgm:t>
    </dgm:pt>
    <dgm:pt modelId="{7C65E272-3F53-4174-B6FC-5DAEC1BC4802}" type="pres">
      <dgm:prSet presAssocID="{42B31C8F-56F5-4BB9-B308-6FF1C95571AC}" presName="parentTextBox" presStyleLbl="node1" presStyleIdx="0" presStyleCnt="1"/>
      <dgm:spPr/>
      <dgm:t>
        <a:bodyPr/>
        <a:lstStyle/>
        <a:p>
          <a:endParaRPr lang="en-US"/>
        </a:p>
      </dgm:t>
    </dgm:pt>
    <dgm:pt modelId="{F03F0A7E-7788-4D61-BD56-49558CA1E774}" type="pres">
      <dgm:prSet presAssocID="{42B31C8F-56F5-4BB9-B308-6FF1C95571AC}" presName="entireBox" presStyleLbl="node1" presStyleIdx="0" presStyleCnt="1" custLinFactNeighborX="463" custLinFactNeighborY="-11765"/>
      <dgm:spPr/>
      <dgm:t>
        <a:bodyPr/>
        <a:lstStyle/>
        <a:p>
          <a:endParaRPr lang="en-US"/>
        </a:p>
      </dgm:t>
    </dgm:pt>
    <dgm:pt modelId="{A0FA85F7-6803-4CD7-AD77-85A2BB59FD5C}" type="pres">
      <dgm:prSet presAssocID="{42B31C8F-56F5-4BB9-B308-6FF1C95571AC}" presName="descendantBox" presStyleCnt="0"/>
      <dgm:spPr/>
      <dgm:t>
        <a:bodyPr/>
        <a:lstStyle/>
        <a:p>
          <a:endParaRPr lang="en-US"/>
        </a:p>
      </dgm:t>
    </dgm:pt>
    <dgm:pt modelId="{C5E947E3-E9E9-4F65-A76E-E49A47AFC307}" type="pres">
      <dgm:prSet presAssocID="{01F0EC7B-7762-4846-B284-5762C806315C}" presName="childTextBox" presStyleLbl="fg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6CBAF8B-A562-42E6-979E-634C3D45F9C1}" type="pres">
      <dgm:prSet presAssocID="{561D866D-6125-4F7D-AD23-8CF7AA113FD2}" presName="childTextBox" presStyleLbl="fg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1E5E058-FDF7-4404-91D9-20F790E4B8AE}" type="pres">
      <dgm:prSet presAssocID="{015FA973-FF1A-448A-9873-51E550AAB7C9}" presName="childTextBox" presStyleLbl="fg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34B6925-C235-4801-8460-7F11FBB598B7}" type="presOf" srcId="{DF1B9575-462F-4F08-989F-83FDEDF76CFC}" destId="{97BBB5C0-66B0-4E0A-901F-104134BD0647}" srcOrd="0" destOrd="0" presId="urn:microsoft.com/office/officeart/2005/8/layout/process4"/>
    <dgm:cxn modelId="{7B33E87F-ED3D-4CBA-9260-84D08C64B7EB}" type="presOf" srcId="{42B31C8F-56F5-4BB9-B308-6FF1C95571AC}" destId="{7C65E272-3F53-4174-B6FC-5DAEC1BC4802}" srcOrd="0" destOrd="0" presId="urn:microsoft.com/office/officeart/2005/8/layout/process4"/>
    <dgm:cxn modelId="{9CA0C309-805D-4402-A9C5-416289C9F6F9}" type="presOf" srcId="{42B31C8F-56F5-4BB9-B308-6FF1C95571AC}" destId="{F03F0A7E-7788-4D61-BD56-49558CA1E774}" srcOrd="1" destOrd="0" presId="urn:microsoft.com/office/officeart/2005/8/layout/process4"/>
    <dgm:cxn modelId="{3588BF6B-258A-4147-9031-C64A22B6052A}" type="presOf" srcId="{015FA973-FF1A-448A-9873-51E550AAB7C9}" destId="{E1E5E058-FDF7-4404-91D9-20F790E4B8AE}" srcOrd="0" destOrd="0" presId="urn:microsoft.com/office/officeart/2005/8/layout/process4"/>
    <dgm:cxn modelId="{55A68E9C-CE5A-4DAB-A474-113B99B2F21C}" type="presOf" srcId="{01F0EC7B-7762-4846-B284-5762C806315C}" destId="{C5E947E3-E9E9-4F65-A76E-E49A47AFC307}" srcOrd="0" destOrd="0" presId="urn:microsoft.com/office/officeart/2005/8/layout/process4"/>
    <dgm:cxn modelId="{F17A1C22-5702-4496-83D9-33B153084AF9}" srcId="{42B31C8F-56F5-4BB9-B308-6FF1C95571AC}" destId="{015FA973-FF1A-448A-9873-51E550AAB7C9}" srcOrd="2" destOrd="0" parTransId="{E374A995-81CB-4BCB-A11E-EBED0107A139}" sibTransId="{E0A69227-A601-4CC9-9497-04FB71F907F6}"/>
    <dgm:cxn modelId="{7BA8B495-52DD-4811-A65A-FC997A457F16}" srcId="{DF1B9575-462F-4F08-989F-83FDEDF76CFC}" destId="{42B31C8F-56F5-4BB9-B308-6FF1C95571AC}" srcOrd="0" destOrd="0" parTransId="{F863752A-3956-47DB-A0FA-AFC71F0E884C}" sibTransId="{641C9A1F-B884-4A6F-9AE0-DE5B8DDADBC5}"/>
    <dgm:cxn modelId="{988FF92F-7610-4CCA-8DDC-7EF8E33F5D6E}" srcId="{42B31C8F-56F5-4BB9-B308-6FF1C95571AC}" destId="{561D866D-6125-4F7D-AD23-8CF7AA113FD2}" srcOrd="1" destOrd="0" parTransId="{BDB674A8-A25B-4CC3-9AE9-39CC2F6FD744}" sibTransId="{783B9596-B532-4F62-BED6-CBF2DD2C8DAC}"/>
    <dgm:cxn modelId="{6840EC6B-82F4-42A8-8B5D-AE42316302DC}" srcId="{42B31C8F-56F5-4BB9-B308-6FF1C95571AC}" destId="{01F0EC7B-7762-4846-B284-5762C806315C}" srcOrd="0" destOrd="0" parTransId="{20D74B8D-B095-4D90-856F-981DD63E0532}" sibTransId="{E2CBA76B-63E2-493C-A5B7-35AE67474CCD}"/>
    <dgm:cxn modelId="{82EF27AE-3265-40D8-A8B3-A1FD2FD65BF4}" type="presOf" srcId="{561D866D-6125-4F7D-AD23-8CF7AA113FD2}" destId="{86CBAF8B-A562-42E6-979E-634C3D45F9C1}" srcOrd="0" destOrd="0" presId="urn:microsoft.com/office/officeart/2005/8/layout/process4"/>
    <dgm:cxn modelId="{444DC4F3-C5D3-4A43-919C-6374AB2D8C9F}" type="presParOf" srcId="{97BBB5C0-66B0-4E0A-901F-104134BD0647}" destId="{3130C2CA-ECA9-4370-9364-6A5D742335B2}" srcOrd="0" destOrd="0" presId="urn:microsoft.com/office/officeart/2005/8/layout/process4"/>
    <dgm:cxn modelId="{DF80BAF7-9BC1-4377-BC16-C90407A83DE5}" type="presParOf" srcId="{3130C2CA-ECA9-4370-9364-6A5D742335B2}" destId="{7C65E272-3F53-4174-B6FC-5DAEC1BC4802}" srcOrd="0" destOrd="0" presId="urn:microsoft.com/office/officeart/2005/8/layout/process4"/>
    <dgm:cxn modelId="{5E28D3C0-A603-4E63-853A-367EEC22AD9A}" type="presParOf" srcId="{3130C2CA-ECA9-4370-9364-6A5D742335B2}" destId="{F03F0A7E-7788-4D61-BD56-49558CA1E774}" srcOrd="1" destOrd="0" presId="urn:microsoft.com/office/officeart/2005/8/layout/process4"/>
    <dgm:cxn modelId="{D2C911B8-2897-411B-BDC6-521EF11FB7DD}" type="presParOf" srcId="{3130C2CA-ECA9-4370-9364-6A5D742335B2}" destId="{A0FA85F7-6803-4CD7-AD77-85A2BB59FD5C}" srcOrd="2" destOrd="0" presId="urn:microsoft.com/office/officeart/2005/8/layout/process4"/>
    <dgm:cxn modelId="{0F508CD4-BBE7-4874-893E-B963E23787E7}" type="presParOf" srcId="{A0FA85F7-6803-4CD7-AD77-85A2BB59FD5C}" destId="{C5E947E3-E9E9-4F65-A76E-E49A47AFC307}" srcOrd="0" destOrd="0" presId="urn:microsoft.com/office/officeart/2005/8/layout/process4"/>
    <dgm:cxn modelId="{AA8A6600-DC11-494F-BF9C-424A395AF0E0}" type="presParOf" srcId="{A0FA85F7-6803-4CD7-AD77-85A2BB59FD5C}" destId="{86CBAF8B-A562-42E6-979E-634C3D45F9C1}" srcOrd="1" destOrd="0" presId="urn:microsoft.com/office/officeart/2005/8/layout/process4"/>
    <dgm:cxn modelId="{4D7C9B0C-D47A-4A3E-B80A-3910CA92380D}" type="presParOf" srcId="{A0FA85F7-6803-4CD7-AD77-85A2BB59FD5C}" destId="{E1E5E058-FDF7-4404-91D9-20F790E4B8AE}" srcOrd="2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2A728CC-ECAE-47E2-BB09-9222B510C421}" type="doc">
      <dgm:prSet loTypeId="urn:microsoft.com/office/officeart/2005/8/layout/radial6" loCatId="relationship" qsTypeId="urn:microsoft.com/office/officeart/2005/8/quickstyle/3d1" qsCatId="3D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6FBA5297-875E-4A1A-9593-0D763B8838DC}">
      <dgm:prSet phldrT="[Text]"/>
      <dgm:spPr/>
      <dgm:t>
        <a:bodyPr/>
        <a:lstStyle/>
        <a:p>
          <a:r>
            <a:rPr lang="en-US" dirty="0" smtClean="0"/>
            <a:t>USE CASES</a:t>
          </a:r>
          <a:endParaRPr lang="en-US" dirty="0"/>
        </a:p>
      </dgm:t>
    </dgm:pt>
    <dgm:pt modelId="{60AB2CFA-D340-464C-B40C-A0DC5C75878F}" type="parTrans" cxnId="{97EBE03C-A212-433C-B7EC-F175B050425F}">
      <dgm:prSet/>
      <dgm:spPr/>
      <dgm:t>
        <a:bodyPr/>
        <a:lstStyle/>
        <a:p>
          <a:endParaRPr lang="en-US"/>
        </a:p>
      </dgm:t>
    </dgm:pt>
    <dgm:pt modelId="{3573A9D2-EA92-4EEC-9427-AF67C7007CAF}" type="sibTrans" cxnId="{97EBE03C-A212-433C-B7EC-F175B050425F}">
      <dgm:prSet/>
      <dgm:spPr/>
      <dgm:t>
        <a:bodyPr/>
        <a:lstStyle/>
        <a:p>
          <a:endParaRPr lang="en-US"/>
        </a:p>
      </dgm:t>
    </dgm:pt>
    <dgm:pt modelId="{BA24AA80-0A8D-4EE5-823B-F6D2A9BE5506}">
      <dgm:prSet phldrT="[Text]" custT="1"/>
      <dgm:spPr/>
      <dgm:t>
        <a:bodyPr/>
        <a:lstStyle/>
        <a:p>
          <a:r>
            <a:rPr lang="en-US" sz="1400" dirty="0" smtClean="0">
              <a:hlinkClick xmlns:r="http://schemas.openxmlformats.org/officeDocument/2006/relationships" r:id="rId1" action="ppaction://hlinkfile"/>
            </a:rPr>
            <a:t>CUSTOMER USE CASE</a:t>
          </a:r>
          <a:endParaRPr lang="en-US" sz="2000" dirty="0"/>
        </a:p>
      </dgm:t>
    </dgm:pt>
    <dgm:pt modelId="{103A9FE8-1186-44FE-9F55-4E728BBC2CCA}" type="parTrans" cxnId="{5C0CE3AE-7918-42CB-B6E2-DA9C87521D73}">
      <dgm:prSet/>
      <dgm:spPr/>
      <dgm:t>
        <a:bodyPr/>
        <a:lstStyle/>
        <a:p>
          <a:endParaRPr lang="en-US"/>
        </a:p>
      </dgm:t>
    </dgm:pt>
    <dgm:pt modelId="{14F6708C-A2CC-479D-A32F-66FB23DD2104}" type="sibTrans" cxnId="{5C0CE3AE-7918-42CB-B6E2-DA9C87521D73}">
      <dgm:prSet/>
      <dgm:spPr/>
      <dgm:t>
        <a:bodyPr/>
        <a:lstStyle/>
        <a:p>
          <a:endParaRPr lang="en-US"/>
        </a:p>
      </dgm:t>
    </dgm:pt>
    <dgm:pt modelId="{53CFCE73-A31D-4CB2-BAE1-3F8BA0D0C5A6}">
      <dgm:prSet phldrT="[Text]" custT="1"/>
      <dgm:spPr/>
      <dgm:t>
        <a:bodyPr/>
        <a:lstStyle/>
        <a:p>
          <a:r>
            <a:rPr lang="en-US" sz="1600" dirty="0" smtClean="0">
              <a:hlinkClick xmlns:r="http://schemas.openxmlformats.org/officeDocument/2006/relationships" r:id="rId2" action="ppaction://hlinkfile"/>
            </a:rPr>
            <a:t>LAD FINAL APPROVAL</a:t>
          </a:r>
          <a:endParaRPr lang="en-US" sz="1600" dirty="0"/>
        </a:p>
      </dgm:t>
    </dgm:pt>
    <dgm:pt modelId="{1DC60AC7-E3D1-46A2-BCF3-4BA307876E99}" type="parTrans" cxnId="{30BE2CB6-861F-4611-8531-FF1745802BB3}">
      <dgm:prSet/>
      <dgm:spPr/>
      <dgm:t>
        <a:bodyPr/>
        <a:lstStyle/>
        <a:p>
          <a:endParaRPr lang="en-US"/>
        </a:p>
      </dgm:t>
    </dgm:pt>
    <dgm:pt modelId="{C7CA03E3-F70C-4EB8-B959-69F09C3A5101}" type="sibTrans" cxnId="{30BE2CB6-861F-4611-8531-FF1745802BB3}">
      <dgm:prSet/>
      <dgm:spPr/>
      <dgm:t>
        <a:bodyPr/>
        <a:lstStyle/>
        <a:p>
          <a:endParaRPr lang="en-US"/>
        </a:p>
      </dgm:t>
    </dgm:pt>
    <dgm:pt modelId="{5A849497-6771-4C1C-92D0-AE3496C7163C}">
      <dgm:prSet phldrT="[Text]" custT="1"/>
      <dgm:spPr/>
      <dgm:t>
        <a:bodyPr/>
        <a:lstStyle/>
        <a:p>
          <a:r>
            <a:rPr lang="en-US" sz="1400" dirty="0" smtClean="0">
              <a:hlinkClick xmlns:r="http://schemas.openxmlformats.org/officeDocument/2006/relationships" r:id="rId3" action="ppaction://hlinkfile"/>
            </a:rPr>
            <a:t>LAD INTERVIEW</a:t>
          </a:r>
          <a:endParaRPr lang="en-US" sz="1400" dirty="0"/>
        </a:p>
      </dgm:t>
    </dgm:pt>
    <dgm:pt modelId="{E788AE96-C992-47D5-BEFB-1CD2B626FEA4}" type="parTrans" cxnId="{15921438-F02E-4C45-B6A8-B67B8AB1C5BC}">
      <dgm:prSet/>
      <dgm:spPr/>
      <dgm:t>
        <a:bodyPr/>
        <a:lstStyle/>
        <a:p>
          <a:endParaRPr lang="en-US"/>
        </a:p>
      </dgm:t>
    </dgm:pt>
    <dgm:pt modelId="{97FEEA6A-6551-4BB7-A15B-125297D40731}" type="sibTrans" cxnId="{15921438-F02E-4C45-B6A8-B67B8AB1C5BC}">
      <dgm:prSet/>
      <dgm:spPr/>
      <dgm:t>
        <a:bodyPr/>
        <a:lstStyle/>
        <a:p>
          <a:endParaRPr lang="en-US"/>
        </a:p>
      </dgm:t>
    </dgm:pt>
    <dgm:pt modelId="{3EF25842-0677-439C-9BA1-B611B6679356}">
      <dgm:prSet phldrT="[Text]" custT="1"/>
      <dgm:spPr/>
      <dgm:t>
        <a:bodyPr/>
        <a:lstStyle/>
        <a:p>
          <a:r>
            <a:rPr lang="en-US" sz="1100" dirty="0" smtClean="0">
              <a:hlinkClick xmlns:r="http://schemas.openxmlformats.org/officeDocument/2006/relationships" r:id="rId4" action="ppaction://hlinkfile"/>
            </a:rPr>
            <a:t>PROJECT ADMINISTRATOR</a:t>
          </a:r>
          <a:endParaRPr lang="en-US" sz="1100" dirty="0"/>
        </a:p>
      </dgm:t>
    </dgm:pt>
    <dgm:pt modelId="{F671A4AF-D8C3-4D8F-A0B5-21990FE23626}" type="parTrans" cxnId="{A47B03D7-0D86-459E-A720-F57802C7D1C7}">
      <dgm:prSet/>
      <dgm:spPr/>
      <dgm:t>
        <a:bodyPr/>
        <a:lstStyle/>
        <a:p>
          <a:endParaRPr lang="en-US"/>
        </a:p>
      </dgm:t>
    </dgm:pt>
    <dgm:pt modelId="{AFB8F2F0-7F06-4E8C-B7EC-9BA45FC1B286}" type="sibTrans" cxnId="{A47B03D7-0D86-459E-A720-F57802C7D1C7}">
      <dgm:prSet/>
      <dgm:spPr/>
      <dgm:t>
        <a:bodyPr/>
        <a:lstStyle/>
        <a:p>
          <a:endParaRPr lang="en-US"/>
        </a:p>
      </dgm:t>
    </dgm:pt>
    <dgm:pt modelId="{4A27EE3A-E395-4CEE-8967-0E8ACFD104FE}">
      <dgm:prSet custT="1"/>
      <dgm:spPr/>
      <dgm:t>
        <a:bodyPr/>
        <a:lstStyle/>
        <a:p>
          <a:r>
            <a:rPr lang="en-US" sz="1600" dirty="0" smtClean="0">
              <a:hlinkClick xmlns:r="http://schemas.openxmlformats.org/officeDocument/2006/relationships" r:id="rId5" action="ppaction://hlinkfile"/>
            </a:rPr>
            <a:t>LAD LOGIN</a:t>
          </a:r>
          <a:endParaRPr lang="en-US" sz="1600" dirty="0"/>
        </a:p>
      </dgm:t>
    </dgm:pt>
    <dgm:pt modelId="{A311D119-5E76-426C-ACF0-DD1FDFAA57EF}" type="parTrans" cxnId="{6FB72234-1C7C-4147-B2B2-7C5338FDF8CB}">
      <dgm:prSet/>
      <dgm:spPr/>
      <dgm:t>
        <a:bodyPr/>
        <a:lstStyle/>
        <a:p>
          <a:endParaRPr lang="en-US"/>
        </a:p>
      </dgm:t>
    </dgm:pt>
    <dgm:pt modelId="{0F8E150F-81AD-4B37-9C4E-164487227899}" type="sibTrans" cxnId="{6FB72234-1C7C-4147-B2B2-7C5338FDF8CB}">
      <dgm:prSet/>
      <dgm:spPr/>
      <dgm:t>
        <a:bodyPr/>
        <a:lstStyle/>
        <a:p>
          <a:endParaRPr lang="en-US"/>
        </a:p>
      </dgm:t>
    </dgm:pt>
    <dgm:pt modelId="{3A5D6254-A3FC-4C48-95DB-55DB4A49721A}" type="pres">
      <dgm:prSet presAssocID="{82A728CC-ECAE-47E2-BB09-9222B510C421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BE9EA00-B9B6-4BCC-9C6C-11C108A78AFC}" type="pres">
      <dgm:prSet presAssocID="{6FBA5297-875E-4A1A-9593-0D763B8838DC}" presName="centerShape" presStyleLbl="node0" presStyleIdx="0" presStyleCnt="1" custScaleX="95215" custScaleY="103966"/>
      <dgm:spPr/>
      <dgm:t>
        <a:bodyPr/>
        <a:lstStyle/>
        <a:p>
          <a:endParaRPr lang="en-US"/>
        </a:p>
      </dgm:t>
    </dgm:pt>
    <dgm:pt modelId="{C7EB2B04-53F1-4FE4-A561-5153AD376101}" type="pres">
      <dgm:prSet presAssocID="{BA24AA80-0A8D-4EE5-823B-F6D2A9BE5506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F5379A9-D928-42E4-9DB5-E9D6F3A0E2F5}" type="pres">
      <dgm:prSet presAssocID="{BA24AA80-0A8D-4EE5-823B-F6D2A9BE5506}" presName="dummy" presStyleCnt="0"/>
      <dgm:spPr/>
      <dgm:t>
        <a:bodyPr/>
        <a:lstStyle/>
        <a:p>
          <a:endParaRPr lang="en-US"/>
        </a:p>
      </dgm:t>
    </dgm:pt>
    <dgm:pt modelId="{61E41578-FCF1-460E-9A78-823EF97AB724}" type="pres">
      <dgm:prSet presAssocID="{14F6708C-A2CC-479D-A32F-66FB23DD2104}" presName="sibTrans" presStyleLbl="sibTrans2D1" presStyleIdx="0" presStyleCnt="5" custLinFactNeighborX="4002" custLinFactNeighborY="80"/>
      <dgm:spPr/>
      <dgm:t>
        <a:bodyPr/>
        <a:lstStyle/>
        <a:p>
          <a:endParaRPr lang="en-US"/>
        </a:p>
      </dgm:t>
    </dgm:pt>
    <dgm:pt modelId="{318B32BB-09E3-494A-854B-6C8B7F6E5576}" type="pres">
      <dgm:prSet presAssocID="{4A27EE3A-E395-4CEE-8967-0E8ACFD104FE}" presName="node" presStyleLbl="node1" presStyleIdx="1" presStyleCnt="5" custRadScaleRad="99643" custRadScaleInc="57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E396F63-E52E-401C-A12F-C5738BBEACEF}" type="pres">
      <dgm:prSet presAssocID="{4A27EE3A-E395-4CEE-8967-0E8ACFD104FE}" presName="dummy" presStyleCnt="0"/>
      <dgm:spPr/>
      <dgm:t>
        <a:bodyPr/>
        <a:lstStyle/>
        <a:p>
          <a:endParaRPr lang="en-US"/>
        </a:p>
      </dgm:t>
    </dgm:pt>
    <dgm:pt modelId="{2F51F07A-E66A-40B1-A3E4-B6EAD02DD3F5}" type="pres">
      <dgm:prSet presAssocID="{0F8E150F-81AD-4B37-9C4E-164487227899}" presName="sibTrans" presStyleLbl="sibTrans2D1" presStyleIdx="1" presStyleCnt="5"/>
      <dgm:spPr/>
      <dgm:t>
        <a:bodyPr/>
        <a:lstStyle/>
        <a:p>
          <a:endParaRPr lang="en-US"/>
        </a:p>
      </dgm:t>
    </dgm:pt>
    <dgm:pt modelId="{E7E78A6F-27CF-4886-BF13-7E3978BF5CFC}" type="pres">
      <dgm:prSet presAssocID="{53CFCE73-A31D-4CB2-BAE1-3F8BA0D0C5A6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A6414D6-B39C-42FD-9825-9223BA583832}" type="pres">
      <dgm:prSet presAssocID="{53CFCE73-A31D-4CB2-BAE1-3F8BA0D0C5A6}" presName="dummy" presStyleCnt="0"/>
      <dgm:spPr/>
      <dgm:t>
        <a:bodyPr/>
        <a:lstStyle/>
        <a:p>
          <a:endParaRPr lang="en-US"/>
        </a:p>
      </dgm:t>
    </dgm:pt>
    <dgm:pt modelId="{4DC7A574-BDED-4C45-9E07-A51F96917482}" type="pres">
      <dgm:prSet presAssocID="{C7CA03E3-F70C-4EB8-B959-69F09C3A5101}" presName="sibTrans" presStyleLbl="sibTrans2D1" presStyleIdx="2" presStyleCnt="5"/>
      <dgm:spPr/>
      <dgm:t>
        <a:bodyPr/>
        <a:lstStyle/>
        <a:p>
          <a:endParaRPr lang="en-US"/>
        </a:p>
      </dgm:t>
    </dgm:pt>
    <dgm:pt modelId="{BA33F6DA-C642-4D2F-B6B8-AD2963AB8D97}" type="pres">
      <dgm:prSet presAssocID="{5A849497-6771-4C1C-92D0-AE3496C7163C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1B55984-D5EB-4262-BF34-7D86A72A385D}" type="pres">
      <dgm:prSet presAssocID="{5A849497-6771-4C1C-92D0-AE3496C7163C}" presName="dummy" presStyleCnt="0"/>
      <dgm:spPr/>
      <dgm:t>
        <a:bodyPr/>
        <a:lstStyle/>
        <a:p>
          <a:endParaRPr lang="en-US"/>
        </a:p>
      </dgm:t>
    </dgm:pt>
    <dgm:pt modelId="{C1BF0002-BFEE-4375-AC3B-E39C9BB23078}" type="pres">
      <dgm:prSet presAssocID="{97FEEA6A-6551-4BB7-A15B-125297D40731}" presName="sibTrans" presStyleLbl="sibTrans2D1" presStyleIdx="3" presStyleCnt="5" custLinFactNeighborX="-3992" custLinFactNeighborY="1778"/>
      <dgm:spPr/>
      <dgm:t>
        <a:bodyPr/>
        <a:lstStyle/>
        <a:p>
          <a:endParaRPr lang="en-US"/>
        </a:p>
      </dgm:t>
    </dgm:pt>
    <dgm:pt modelId="{4C713966-6261-4F78-9F60-804A6A8B81B1}" type="pres">
      <dgm:prSet presAssocID="{3EF25842-0677-439C-9BA1-B611B6679356}" presName="node" presStyleLbl="node1" presStyleIdx="4" presStyleCnt="5" custScaleX="110863" custScaleY="110862" custRadScaleRad="99375" custRadScaleInc="-36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13F4E9E-466C-4475-8A8F-334884D87FAE}" type="pres">
      <dgm:prSet presAssocID="{3EF25842-0677-439C-9BA1-B611B6679356}" presName="dummy" presStyleCnt="0"/>
      <dgm:spPr/>
      <dgm:t>
        <a:bodyPr/>
        <a:lstStyle/>
        <a:p>
          <a:endParaRPr lang="en-US"/>
        </a:p>
      </dgm:t>
    </dgm:pt>
    <dgm:pt modelId="{41927A8C-CCD5-40CE-80B4-15BA58E63A9A}" type="pres">
      <dgm:prSet presAssocID="{AFB8F2F0-7F06-4E8C-B7EC-9BA45FC1B286}" presName="sibTrans" presStyleLbl="sibTrans2D1" presStyleIdx="4" presStyleCnt="5" custLinFactNeighborX="-278" custLinFactNeighborY="81"/>
      <dgm:spPr/>
      <dgm:t>
        <a:bodyPr/>
        <a:lstStyle/>
        <a:p>
          <a:endParaRPr lang="en-US"/>
        </a:p>
      </dgm:t>
    </dgm:pt>
  </dgm:ptLst>
  <dgm:cxnLst>
    <dgm:cxn modelId="{6FB72234-1C7C-4147-B2B2-7C5338FDF8CB}" srcId="{6FBA5297-875E-4A1A-9593-0D763B8838DC}" destId="{4A27EE3A-E395-4CEE-8967-0E8ACFD104FE}" srcOrd="1" destOrd="0" parTransId="{A311D119-5E76-426C-ACF0-DD1FDFAA57EF}" sibTransId="{0F8E150F-81AD-4B37-9C4E-164487227899}"/>
    <dgm:cxn modelId="{15921438-F02E-4C45-B6A8-B67B8AB1C5BC}" srcId="{6FBA5297-875E-4A1A-9593-0D763B8838DC}" destId="{5A849497-6771-4C1C-92D0-AE3496C7163C}" srcOrd="3" destOrd="0" parTransId="{E788AE96-C992-47D5-BEFB-1CD2B626FEA4}" sibTransId="{97FEEA6A-6551-4BB7-A15B-125297D40731}"/>
    <dgm:cxn modelId="{419D6E4B-D9EB-4737-B1DA-835151C7181E}" type="presOf" srcId="{C7CA03E3-F70C-4EB8-B959-69F09C3A5101}" destId="{4DC7A574-BDED-4C45-9E07-A51F96917482}" srcOrd="0" destOrd="0" presId="urn:microsoft.com/office/officeart/2005/8/layout/radial6"/>
    <dgm:cxn modelId="{BCD58597-C9A0-46AC-8519-E8ED4D452B0E}" type="presOf" srcId="{97FEEA6A-6551-4BB7-A15B-125297D40731}" destId="{C1BF0002-BFEE-4375-AC3B-E39C9BB23078}" srcOrd="0" destOrd="0" presId="urn:microsoft.com/office/officeart/2005/8/layout/radial6"/>
    <dgm:cxn modelId="{905CA83A-DE19-4486-B6DF-392FFD1EEF21}" type="presOf" srcId="{6FBA5297-875E-4A1A-9593-0D763B8838DC}" destId="{FBE9EA00-B9B6-4BCC-9C6C-11C108A78AFC}" srcOrd="0" destOrd="0" presId="urn:microsoft.com/office/officeart/2005/8/layout/radial6"/>
    <dgm:cxn modelId="{1610E51A-32C9-40F6-B504-57DA5BB9BE4F}" type="presOf" srcId="{4A27EE3A-E395-4CEE-8967-0E8ACFD104FE}" destId="{318B32BB-09E3-494A-854B-6C8B7F6E5576}" srcOrd="0" destOrd="0" presId="urn:microsoft.com/office/officeart/2005/8/layout/radial6"/>
    <dgm:cxn modelId="{9BF2824B-87B8-448A-91C0-D623A192AEB9}" type="presOf" srcId="{5A849497-6771-4C1C-92D0-AE3496C7163C}" destId="{BA33F6DA-C642-4D2F-B6B8-AD2963AB8D97}" srcOrd="0" destOrd="0" presId="urn:microsoft.com/office/officeart/2005/8/layout/radial6"/>
    <dgm:cxn modelId="{5C0CE3AE-7918-42CB-B6E2-DA9C87521D73}" srcId="{6FBA5297-875E-4A1A-9593-0D763B8838DC}" destId="{BA24AA80-0A8D-4EE5-823B-F6D2A9BE5506}" srcOrd="0" destOrd="0" parTransId="{103A9FE8-1186-44FE-9F55-4E728BBC2CCA}" sibTransId="{14F6708C-A2CC-479D-A32F-66FB23DD2104}"/>
    <dgm:cxn modelId="{820076E1-C64E-489C-9E1C-B54F788B9D7B}" type="presOf" srcId="{AFB8F2F0-7F06-4E8C-B7EC-9BA45FC1B286}" destId="{41927A8C-CCD5-40CE-80B4-15BA58E63A9A}" srcOrd="0" destOrd="0" presId="urn:microsoft.com/office/officeart/2005/8/layout/radial6"/>
    <dgm:cxn modelId="{0A4432EB-2B46-43DA-A455-BA37607F954D}" type="presOf" srcId="{53CFCE73-A31D-4CB2-BAE1-3F8BA0D0C5A6}" destId="{E7E78A6F-27CF-4886-BF13-7E3978BF5CFC}" srcOrd="0" destOrd="0" presId="urn:microsoft.com/office/officeart/2005/8/layout/radial6"/>
    <dgm:cxn modelId="{97EBE03C-A212-433C-B7EC-F175B050425F}" srcId="{82A728CC-ECAE-47E2-BB09-9222B510C421}" destId="{6FBA5297-875E-4A1A-9593-0D763B8838DC}" srcOrd="0" destOrd="0" parTransId="{60AB2CFA-D340-464C-B40C-A0DC5C75878F}" sibTransId="{3573A9D2-EA92-4EEC-9427-AF67C7007CAF}"/>
    <dgm:cxn modelId="{A47B03D7-0D86-459E-A720-F57802C7D1C7}" srcId="{6FBA5297-875E-4A1A-9593-0D763B8838DC}" destId="{3EF25842-0677-439C-9BA1-B611B6679356}" srcOrd="4" destOrd="0" parTransId="{F671A4AF-D8C3-4D8F-A0B5-21990FE23626}" sibTransId="{AFB8F2F0-7F06-4E8C-B7EC-9BA45FC1B286}"/>
    <dgm:cxn modelId="{10A10DBE-6346-4F24-940C-9863DB2B73F4}" type="presOf" srcId="{14F6708C-A2CC-479D-A32F-66FB23DD2104}" destId="{61E41578-FCF1-460E-9A78-823EF97AB724}" srcOrd="0" destOrd="0" presId="urn:microsoft.com/office/officeart/2005/8/layout/radial6"/>
    <dgm:cxn modelId="{2207B858-BF02-4645-83EB-89EF9E5C752D}" type="presOf" srcId="{3EF25842-0677-439C-9BA1-B611B6679356}" destId="{4C713966-6261-4F78-9F60-804A6A8B81B1}" srcOrd="0" destOrd="0" presId="urn:microsoft.com/office/officeart/2005/8/layout/radial6"/>
    <dgm:cxn modelId="{150ADDDB-175D-4A70-9CD7-E72429E402B6}" type="presOf" srcId="{BA24AA80-0A8D-4EE5-823B-F6D2A9BE5506}" destId="{C7EB2B04-53F1-4FE4-A561-5153AD376101}" srcOrd="0" destOrd="0" presId="urn:microsoft.com/office/officeart/2005/8/layout/radial6"/>
    <dgm:cxn modelId="{30BE2CB6-861F-4611-8531-FF1745802BB3}" srcId="{6FBA5297-875E-4A1A-9593-0D763B8838DC}" destId="{53CFCE73-A31D-4CB2-BAE1-3F8BA0D0C5A6}" srcOrd="2" destOrd="0" parTransId="{1DC60AC7-E3D1-46A2-BCF3-4BA307876E99}" sibTransId="{C7CA03E3-F70C-4EB8-B959-69F09C3A5101}"/>
    <dgm:cxn modelId="{F8019074-09E8-41AE-A530-84CF5D7D98F7}" type="presOf" srcId="{82A728CC-ECAE-47E2-BB09-9222B510C421}" destId="{3A5D6254-A3FC-4C48-95DB-55DB4A49721A}" srcOrd="0" destOrd="0" presId="urn:microsoft.com/office/officeart/2005/8/layout/radial6"/>
    <dgm:cxn modelId="{511AAE74-D7E0-40D0-884D-0993F54E5334}" type="presOf" srcId="{0F8E150F-81AD-4B37-9C4E-164487227899}" destId="{2F51F07A-E66A-40B1-A3E4-B6EAD02DD3F5}" srcOrd="0" destOrd="0" presId="urn:microsoft.com/office/officeart/2005/8/layout/radial6"/>
    <dgm:cxn modelId="{22EB266A-6E05-4E20-B9A1-7E426703854A}" type="presParOf" srcId="{3A5D6254-A3FC-4C48-95DB-55DB4A49721A}" destId="{FBE9EA00-B9B6-4BCC-9C6C-11C108A78AFC}" srcOrd="0" destOrd="0" presId="urn:microsoft.com/office/officeart/2005/8/layout/radial6"/>
    <dgm:cxn modelId="{42D57372-7D27-415D-A471-9784913E1FE5}" type="presParOf" srcId="{3A5D6254-A3FC-4C48-95DB-55DB4A49721A}" destId="{C7EB2B04-53F1-4FE4-A561-5153AD376101}" srcOrd="1" destOrd="0" presId="urn:microsoft.com/office/officeart/2005/8/layout/radial6"/>
    <dgm:cxn modelId="{167BD88B-F379-42A7-9F07-F69E8A6D6FE4}" type="presParOf" srcId="{3A5D6254-A3FC-4C48-95DB-55DB4A49721A}" destId="{BF5379A9-D928-42E4-9DB5-E9D6F3A0E2F5}" srcOrd="2" destOrd="0" presId="urn:microsoft.com/office/officeart/2005/8/layout/radial6"/>
    <dgm:cxn modelId="{75732C22-B492-4479-A95F-77C3AC20036D}" type="presParOf" srcId="{3A5D6254-A3FC-4C48-95DB-55DB4A49721A}" destId="{61E41578-FCF1-460E-9A78-823EF97AB724}" srcOrd="3" destOrd="0" presId="urn:microsoft.com/office/officeart/2005/8/layout/radial6"/>
    <dgm:cxn modelId="{D4DB447B-4CD7-4BF5-835E-77111A3A1A64}" type="presParOf" srcId="{3A5D6254-A3FC-4C48-95DB-55DB4A49721A}" destId="{318B32BB-09E3-494A-854B-6C8B7F6E5576}" srcOrd="4" destOrd="0" presId="urn:microsoft.com/office/officeart/2005/8/layout/radial6"/>
    <dgm:cxn modelId="{1A66C464-CA1D-423E-87D7-7B2CF365F296}" type="presParOf" srcId="{3A5D6254-A3FC-4C48-95DB-55DB4A49721A}" destId="{6E396F63-E52E-401C-A12F-C5738BBEACEF}" srcOrd="5" destOrd="0" presId="urn:microsoft.com/office/officeart/2005/8/layout/radial6"/>
    <dgm:cxn modelId="{B63012AD-E420-42E9-8855-769B0E458CC6}" type="presParOf" srcId="{3A5D6254-A3FC-4C48-95DB-55DB4A49721A}" destId="{2F51F07A-E66A-40B1-A3E4-B6EAD02DD3F5}" srcOrd="6" destOrd="0" presId="urn:microsoft.com/office/officeart/2005/8/layout/radial6"/>
    <dgm:cxn modelId="{A6E334FB-3A41-43DB-8BC0-931F1A59090C}" type="presParOf" srcId="{3A5D6254-A3FC-4C48-95DB-55DB4A49721A}" destId="{E7E78A6F-27CF-4886-BF13-7E3978BF5CFC}" srcOrd="7" destOrd="0" presId="urn:microsoft.com/office/officeart/2005/8/layout/radial6"/>
    <dgm:cxn modelId="{ADBF7FB3-DBD4-43A7-9546-7DC0D189232A}" type="presParOf" srcId="{3A5D6254-A3FC-4C48-95DB-55DB4A49721A}" destId="{EA6414D6-B39C-42FD-9825-9223BA583832}" srcOrd="8" destOrd="0" presId="urn:microsoft.com/office/officeart/2005/8/layout/radial6"/>
    <dgm:cxn modelId="{5B0AF49E-3EA3-45F7-B7F2-48E10434F214}" type="presParOf" srcId="{3A5D6254-A3FC-4C48-95DB-55DB4A49721A}" destId="{4DC7A574-BDED-4C45-9E07-A51F96917482}" srcOrd="9" destOrd="0" presId="urn:microsoft.com/office/officeart/2005/8/layout/radial6"/>
    <dgm:cxn modelId="{8E9C2A42-240C-422D-9637-8C2DF63E9B5A}" type="presParOf" srcId="{3A5D6254-A3FC-4C48-95DB-55DB4A49721A}" destId="{BA33F6DA-C642-4D2F-B6B8-AD2963AB8D97}" srcOrd="10" destOrd="0" presId="urn:microsoft.com/office/officeart/2005/8/layout/radial6"/>
    <dgm:cxn modelId="{AE9647AE-9D02-43E1-8E6C-1BE7D600D3F7}" type="presParOf" srcId="{3A5D6254-A3FC-4C48-95DB-55DB4A49721A}" destId="{E1B55984-D5EB-4262-BF34-7D86A72A385D}" srcOrd="11" destOrd="0" presId="urn:microsoft.com/office/officeart/2005/8/layout/radial6"/>
    <dgm:cxn modelId="{425924FA-913C-4E9A-BD8B-61DA9BEF558F}" type="presParOf" srcId="{3A5D6254-A3FC-4C48-95DB-55DB4A49721A}" destId="{C1BF0002-BFEE-4375-AC3B-E39C9BB23078}" srcOrd="12" destOrd="0" presId="urn:microsoft.com/office/officeart/2005/8/layout/radial6"/>
    <dgm:cxn modelId="{5FA35B83-99D1-43F4-BF27-D38681DAA272}" type="presParOf" srcId="{3A5D6254-A3FC-4C48-95DB-55DB4A49721A}" destId="{4C713966-6261-4F78-9F60-804A6A8B81B1}" srcOrd="13" destOrd="0" presId="urn:microsoft.com/office/officeart/2005/8/layout/radial6"/>
    <dgm:cxn modelId="{FFE7CF93-66F3-4492-80A9-422232E00A52}" type="presParOf" srcId="{3A5D6254-A3FC-4C48-95DB-55DB4A49721A}" destId="{513F4E9E-466C-4475-8A8F-334884D87FAE}" srcOrd="14" destOrd="0" presId="urn:microsoft.com/office/officeart/2005/8/layout/radial6"/>
    <dgm:cxn modelId="{1DD97099-C099-4242-9FE3-DDBC4481E724}" type="presParOf" srcId="{3A5D6254-A3FC-4C48-95DB-55DB4A49721A}" destId="{41927A8C-CCD5-40CE-80B4-15BA58E63A9A}" srcOrd="15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CC47EB6-698C-426B-B090-5C0A1774C557}" type="doc">
      <dgm:prSet loTypeId="urn:microsoft.com/office/officeart/2005/8/layout/list1" loCatId="list" qsTypeId="urn:microsoft.com/office/officeart/2005/8/quickstyle/simple5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9E5C7A2B-607E-4CFF-B94F-E5627E98D419}">
      <dgm:prSet phldrT="[Text]"/>
      <dgm:spPr/>
      <dgm:t>
        <a:bodyPr/>
        <a:lstStyle/>
        <a:p>
          <a:r>
            <a:rPr lang="en-US" dirty="0" smtClean="0">
              <a:hlinkClick xmlns:r="http://schemas.openxmlformats.org/officeDocument/2006/relationships" r:id="rId1" action="ppaction://hlinkfile"/>
            </a:rPr>
            <a:t>CUSTOMER</a:t>
          </a:r>
          <a:endParaRPr lang="en-US" dirty="0"/>
        </a:p>
      </dgm:t>
    </dgm:pt>
    <dgm:pt modelId="{8C773200-41E4-4638-B48C-EB6AF7F40F80}" type="parTrans" cxnId="{B5521726-410F-4903-A9DA-4B507BF3DE3C}">
      <dgm:prSet/>
      <dgm:spPr/>
      <dgm:t>
        <a:bodyPr/>
        <a:lstStyle/>
        <a:p>
          <a:endParaRPr lang="en-US"/>
        </a:p>
      </dgm:t>
    </dgm:pt>
    <dgm:pt modelId="{000D4C6E-DFFE-4B40-AE1A-D8294E2BC795}" type="sibTrans" cxnId="{B5521726-410F-4903-A9DA-4B507BF3DE3C}">
      <dgm:prSet/>
      <dgm:spPr/>
      <dgm:t>
        <a:bodyPr/>
        <a:lstStyle/>
        <a:p>
          <a:endParaRPr lang="en-US"/>
        </a:p>
      </dgm:t>
    </dgm:pt>
    <dgm:pt modelId="{55F06502-E55B-42C9-8A63-5FC5791A3C1A}">
      <dgm:prSet phldrT="[Text]"/>
      <dgm:spPr/>
      <dgm:t>
        <a:bodyPr/>
        <a:lstStyle/>
        <a:p>
          <a:r>
            <a:rPr lang="en-US" dirty="0" smtClean="0">
              <a:hlinkClick xmlns:r="http://schemas.openxmlformats.org/officeDocument/2006/relationships" r:id="rId2" action="ppaction://hlinkfile"/>
            </a:rPr>
            <a:t>ADMIN</a:t>
          </a:r>
          <a:endParaRPr lang="en-US" dirty="0"/>
        </a:p>
      </dgm:t>
    </dgm:pt>
    <dgm:pt modelId="{6CB46D0E-C77F-423E-9F9C-E22CF5B2D461}" type="parTrans" cxnId="{466DF867-8223-464A-9056-F6D21965A755}">
      <dgm:prSet/>
      <dgm:spPr/>
      <dgm:t>
        <a:bodyPr/>
        <a:lstStyle/>
        <a:p>
          <a:endParaRPr lang="en-US"/>
        </a:p>
      </dgm:t>
    </dgm:pt>
    <dgm:pt modelId="{998D58A1-4038-44D0-82DE-47BABDE715DD}" type="sibTrans" cxnId="{466DF867-8223-464A-9056-F6D21965A755}">
      <dgm:prSet/>
      <dgm:spPr/>
      <dgm:t>
        <a:bodyPr/>
        <a:lstStyle/>
        <a:p>
          <a:endParaRPr lang="en-US"/>
        </a:p>
      </dgm:t>
    </dgm:pt>
    <dgm:pt modelId="{2066312C-10E8-4349-8326-D24815E337AB}">
      <dgm:prSet phldrT="[Text]"/>
      <dgm:spPr/>
      <dgm:t>
        <a:bodyPr/>
        <a:lstStyle/>
        <a:p>
          <a:r>
            <a:rPr lang="en-US" dirty="0" smtClean="0">
              <a:hlinkClick xmlns:r="http://schemas.openxmlformats.org/officeDocument/2006/relationships" r:id="rId3" action="ppaction://hlinkfile"/>
            </a:rPr>
            <a:t>LAD</a:t>
          </a:r>
          <a:endParaRPr lang="en-US" dirty="0"/>
        </a:p>
      </dgm:t>
    </dgm:pt>
    <dgm:pt modelId="{BBC57F7E-27BC-4EBD-99ED-65407A062026}" type="parTrans" cxnId="{8418D6A9-28FE-4D9B-9E81-0D609427F262}">
      <dgm:prSet/>
      <dgm:spPr/>
      <dgm:t>
        <a:bodyPr/>
        <a:lstStyle/>
        <a:p>
          <a:endParaRPr lang="en-US"/>
        </a:p>
      </dgm:t>
    </dgm:pt>
    <dgm:pt modelId="{000373C7-59A1-4380-BC7C-9EA26CB66223}" type="sibTrans" cxnId="{8418D6A9-28FE-4D9B-9E81-0D609427F262}">
      <dgm:prSet/>
      <dgm:spPr/>
      <dgm:t>
        <a:bodyPr/>
        <a:lstStyle/>
        <a:p>
          <a:endParaRPr lang="en-US"/>
        </a:p>
      </dgm:t>
    </dgm:pt>
    <dgm:pt modelId="{52E80B70-932D-4969-80FF-5F64F4A74718}" type="pres">
      <dgm:prSet presAssocID="{0CC47EB6-698C-426B-B090-5C0A1774C557}" presName="linear" presStyleCnt="0">
        <dgm:presLayoutVars>
          <dgm:dir/>
          <dgm:animLvl val="lvl"/>
          <dgm:resizeHandles val="exact"/>
        </dgm:presLayoutVars>
      </dgm:prSet>
      <dgm:spPr/>
    </dgm:pt>
    <dgm:pt modelId="{C9F3ADA7-A932-45E0-8CE0-3F898101A5CC}" type="pres">
      <dgm:prSet presAssocID="{9E5C7A2B-607E-4CFF-B94F-E5627E98D419}" presName="parentLin" presStyleCnt="0"/>
      <dgm:spPr/>
    </dgm:pt>
    <dgm:pt modelId="{EA42A3AE-9C30-4C09-9653-C25AC852C699}" type="pres">
      <dgm:prSet presAssocID="{9E5C7A2B-607E-4CFF-B94F-E5627E98D419}" presName="parentLeftMargin" presStyleLbl="node1" presStyleIdx="0" presStyleCnt="3"/>
      <dgm:spPr/>
    </dgm:pt>
    <dgm:pt modelId="{FF2033B5-A7B4-42AC-A3CE-4C6CEF7F2617}" type="pres">
      <dgm:prSet presAssocID="{9E5C7A2B-607E-4CFF-B94F-E5627E98D419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0DEADA3-6C23-4789-B1DE-EBF9A3AE7E1D}" type="pres">
      <dgm:prSet presAssocID="{9E5C7A2B-607E-4CFF-B94F-E5627E98D419}" presName="negativeSpace" presStyleCnt="0"/>
      <dgm:spPr/>
    </dgm:pt>
    <dgm:pt modelId="{3B681E9E-EECA-44FD-A0FA-6114585DB436}" type="pres">
      <dgm:prSet presAssocID="{9E5C7A2B-607E-4CFF-B94F-E5627E98D419}" presName="childText" presStyleLbl="conFgAcc1" presStyleIdx="0" presStyleCnt="3">
        <dgm:presLayoutVars>
          <dgm:bulletEnabled val="1"/>
        </dgm:presLayoutVars>
      </dgm:prSet>
      <dgm:spPr/>
    </dgm:pt>
    <dgm:pt modelId="{C533EB73-2C4F-4F3C-B08B-5C82E22D2555}" type="pres">
      <dgm:prSet presAssocID="{000D4C6E-DFFE-4B40-AE1A-D8294E2BC795}" presName="spaceBetweenRectangles" presStyleCnt="0"/>
      <dgm:spPr/>
    </dgm:pt>
    <dgm:pt modelId="{6ADCF3FB-31A5-4CD0-ABA6-B6CE0495F424}" type="pres">
      <dgm:prSet presAssocID="{55F06502-E55B-42C9-8A63-5FC5791A3C1A}" presName="parentLin" presStyleCnt="0"/>
      <dgm:spPr/>
    </dgm:pt>
    <dgm:pt modelId="{2E0E1CCF-C1F9-4369-BD99-D960E6F04AE6}" type="pres">
      <dgm:prSet presAssocID="{55F06502-E55B-42C9-8A63-5FC5791A3C1A}" presName="parentLeftMargin" presStyleLbl="node1" presStyleIdx="0" presStyleCnt="3"/>
      <dgm:spPr/>
    </dgm:pt>
    <dgm:pt modelId="{2202675A-2A1E-46D2-8EE4-7509B3B7225C}" type="pres">
      <dgm:prSet presAssocID="{55F06502-E55B-42C9-8A63-5FC5791A3C1A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241566B-9BCD-44BB-B0F2-5488D26649A3}" type="pres">
      <dgm:prSet presAssocID="{55F06502-E55B-42C9-8A63-5FC5791A3C1A}" presName="negativeSpace" presStyleCnt="0"/>
      <dgm:spPr/>
    </dgm:pt>
    <dgm:pt modelId="{5183C994-EE0D-42DD-A9A9-881D31988BDB}" type="pres">
      <dgm:prSet presAssocID="{55F06502-E55B-42C9-8A63-5FC5791A3C1A}" presName="childText" presStyleLbl="conFgAcc1" presStyleIdx="1" presStyleCnt="3">
        <dgm:presLayoutVars>
          <dgm:bulletEnabled val="1"/>
        </dgm:presLayoutVars>
      </dgm:prSet>
      <dgm:spPr/>
    </dgm:pt>
    <dgm:pt modelId="{A06F3887-0B07-4C8C-BC2C-C969A66ED53E}" type="pres">
      <dgm:prSet presAssocID="{998D58A1-4038-44D0-82DE-47BABDE715DD}" presName="spaceBetweenRectangles" presStyleCnt="0"/>
      <dgm:spPr/>
    </dgm:pt>
    <dgm:pt modelId="{1A097706-E374-4E96-A457-BA35B67795CE}" type="pres">
      <dgm:prSet presAssocID="{2066312C-10E8-4349-8326-D24815E337AB}" presName="parentLin" presStyleCnt="0"/>
      <dgm:spPr/>
    </dgm:pt>
    <dgm:pt modelId="{FE116A83-93CF-4475-B05F-A70D9CDD2278}" type="pres">
      <dgm:prSet presAssocID="{2066312C-10E8-4349-8326-D24815E337AB}" presName="parentLeftMargin" presStyleLbl="node1" presStyleIdx="1" presStyleCnt="3"/>
      <dgm:spPr/>
    </dgm:pt>
    <dgm:pt modelId="{73FBA1EF-193B-41EC-AB45-9CE67BEE6875}" type="pres">
      <dgm:prSet presAssocID="{2066312C-10E8-4349-8326-D24815E337AB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E037867-C705-4349-8A7F-1C701AC81165}" type="pres">
      <dgm:prSet presAssocID="{2066312C-10E8-4349-8326-D24815E337AB}" presName="negativeSpace" presStyleCnt="0"/>
      <dgm:spPr/>
    </dgm:pt>
    <dgm:pt modelId="{FFDBE3C7-A731-49E2-9BB3-9A2CE6EB7AF3}" type="pres">
      <dgm:prSet presAssocID="{2066312C-10E8-4349-8326-D24815E337AB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DF673FAD-F88B-4AE5-BC25-2B6F4DFA1EFA}" type="presOf" srcId="{2066312C-10E8-4349-8326-D24815E337AB}" destId="{FE116A83-93CF-4475-B05F-A70D9CDD2278}" srcOrd="0" destOrd="0" presId="urn:microsoft.com/office/officeart/2005/8/layout/list1"/>
    <dgm:cxn modelId="{7F358A64-162A-4ED7-AFE7-7C4DCC7E8396}" type="presOf" srcId="{55F06502-E55B-42C9-8A63-5FC5791A3C1A}" destId="{2E0E1CCF-C1F9-4369-BD99-D960E6F04AE6}" srcOrd="0" destOrd="0" presId="urn:microsoft.com/office/officeart/2005/8/layout/list1"/>
    <dgm:cxn modelId="{ECDF5B1F-54FD-4F0C-9025-6DE0DF9FB6B0}" type="presOf" srcId="{2066312C-10E8-4349-8326-D24815E337AB}" destId="{73FBA1EF-193B-41EC-AB45-9CE67BEE6875}" srcOrd="1" destOrd="0" presId="urn:microsoft.com/office/officeart/2005/8/layout/list1"/>
    <dgm:cxn modelId="{E0EF28F3-CC4A-453A-822F-9ECD6A616DA4}" type="presOf" srcId="{55F06502-E55B-42C9-8A63-5FC5791A3C1A}" destId="{2202675A-2A1E-46D2-8EE4-7509B3B7225C}" srcOrd="1" destOrd="0" presId="urn:microsoft.com/office/officeart/2005/8/layout/list1"/>
    <dgm:cxn modelId="{AAAC0869-C402-4548-86DB-C168E8AFF227}" type="presOf" srcId="{9E5C7A2B-607E-4CFF-B94F-E5627E98D419}" destId="{FF2033B5-A7B4-42AC-A3CE-4C6CEF7F2617}" srcOrd="1" destOrd="0" presId="urn:microsoft.com/office/officeart/2005/8/layout/list1"/>
    <dgm:cxn modelId="{0F636651-DC28-47FE-8AFB-8B2CB01C71BA}" type="presOf" srcId="{0CC47EB6-698C-426B-B090-5C0A1774C557}" destId="{52E80B70-932D-4969-80FF-5F64F4A74718}" srcOrd="0" destOrd="0" presId="urn:microsoft.com/office/officeart/2005/8/layout/list1"/>
    <dgm:cxn modelId="{8418D6A9-28FE-4D9B-9E81-0D609427F262}" srcId="{0CC47EB6-698C-426B-B090-5C0A1774C557}" destId="{2066312C-10E8-4349-8326-D24815E337AB}" srcOrd="2" destOrd="0" parTransId="{BBC57F7E-27BC-4EBD-99ED-65407A062026}" sibTransId="{000373C7-59A1-4380-BC7C-9EA26CB66223}"/>
    <dgm:cxn modelId="{B5521726-410F-4903-A9DA-4B507BF3DE3C}" srcId="{0CC47EB6-698C-426B-B090-5C0A1774C557}" destId="{9E5C7A2B-607E-4CFF-B94F-E5627E98D419}" srcOrd="0" destOrd="0" parTransId="{8C773200-41E4-4638-B48C-EB6AF7F40F80}" sibTransId="{000D4C6E-DFFE-4B40-AE1A-D8294E2BC795}"/>
    <dgm:cxn modelId="{93B4DEA0-FD6A-4C77-A4FF-E1CDA043269C}" type="presOf" srcId="{9E5C7A2B-607E-4CFF-B94F-E5627E98D419}" destId="{EA42A3AE-9C30-4C09-9653-C25AC852C699}" srcOrd="0" destOrd="0" presId="urn:microsoft.com/office/officeart/2005/8/layout/list1"/>
    <dgm:cxn modelId="{466DF867-8223-464A-9056-F6D21965A755}" srcId="{0CC47EB6-698C-426B-B090-5C0A1774C557}" destId="{55F06502-E55B-42C9-8A63-5FC5791A3C1A}" srcOrd="1" destOrd="0" parTransId="{6CB46D0E-C77F-423E-9F9C-E22CF5B2D461}" sibTransId="{998D58A1-4038-44D0-82DE-47BABDE715DD}"/>
    <dgm:cxn modelId="{0C15BDCD-658C-4664-9B01-4D5CD7753EAC}" type="presParOf" srcId="{52E80B70-932D-4969-80FF-5F64F4A74718}" destId="{C9F3ADA7-A932-45E0-8CE0-3F898101A5CC}" srcOrd="0" destOrd="0" presId="urn:microsoft.com/office/officeart/2005/8/layout/list1"/>
    <dgm:cxn modelId="{0F9D0A38-442B-4D18-950E-1B89DDF93F52}" type="presParOf" srcId="{C9F3ADA7-A932-45E0-8CE0-3F898101A5CC}" destId="{EA42A3AE-9C30-4C09-9653-C25AC852C699}" srcOrd="0" destOrd="0" presId="urn:microsoft.com/office/officeart/2005/8/layout/list1"/>
    <dgm:cxn modelId="{53DC4812-0AD1-4AED-9473-BCC554CE38F0}" type="presParOf" srcId="{C9F3ADA7-A932-45E0-8CE0-3F898101A5CC}" destId="{FF2033B5-A7B4-42AC-A3CE-4C6CEF7F2617}" srcOrd="1" destOrd="0" presId="urn:microsoft.com/office/officeart/2005/8/layout/list1"/>
    <dgm:cxn modelId="{302C3303-9B39-49D9-8835-6633349878E4}" type="presParOf" srcId="{52E80B70-932D-4969-80FF-5F64F4A74718}" destId="{90DEADA3-6C23-4789-B1DE-EBF9A3AE7E1D}" srcOrd="1" destOrd="0" presId="urn:microsoft.com/office/officeart/2005/8/layout/list1"/>
    <dgm:cxn modelId="{A982AC0D-9BB6-4C64-BE37-39DA4E13E862}" type="presParOf" srcId="{52E80B70-932D-4969-80FF-5F64F4A74718}" destId="{3B681E9E-EECA-44FD-A0FA-6114585DB436}" srcOrd="2" destOrd="0" presId="urn:microsoft.com/office/officeart/2005/8/layout/list1"/>
    <dgm:cxn modelId="{630ABB9C-BFD3-4FBD-8E8A-5CBEB638B866}" type="presParOf" srcId="{52E80B70-932D-4969-80FF-5F64F4A74718}" destId="{C533EB73-2C4F-4F3C-B08B-5C82E22D2555}" srcOrd="3" destOrd="0" presId="urn:microsoft.com/office/officeart/2005/8/layout/list1"/>
    <dgm:cxn modelId="{65A7F2EB-DC41-4C80-A907-CE870608EBFA}" type="presParOf" srcId="{52E80B70-932D-4969-80FF-5F64F4A74718}" destId="{6ADCF3FB-31A5-4CD0-ABA6-B6CE0495F424}" srcOrd="4" destOrd="0" presId="urn:microsoft.com/office/officeart/2005/8/layout/list1"/>
    <dgm:cxn modelId="{57DB7F99-7D34-4046-A5A0-D630FE1E874D}" type="presParOf" srcId="{6ADCF3FB-31A5-4CD0-ABA6-B6CE0495F424}" destId="{2E0E1CCF-C1F9-4369-BD99-D960E6F04AE6}" srcOrd="0" destOrd="0" presId="urn:microsoft.com/office/officeart/2005/8/layout/list1"/>
    <dgm:cxn modelId="{C40236D5-50B2-4DD7-8750-3AC3B4BAAB96}" type="presParOf" srcId="{6ADCF3FB-31A5-4CD0-ABA6-B6CE0495F424}" destId="{2202675A-2A1E-46D2-8EE4-7509B3B7225C}" srcOrd="1" destOrd="0" presId="urn:microsoft.com/office/officeart/2005/8/layout/list1"/>
    <dgm:cxn modelId="{D31024F4-BBAD-4D70-B566-EA233ACD0ABD}" type="presParOf" srcId="{52E80B70-932D-4969-80FF-5F64F4A74718}" destId="{F241566B-9BCD-44BB-B0F2-5488D26649A3}" srcOrd="5" destOrd="0" presId="urn:microsoft.com/office/officeart/2005/8/layout/list1"/>
    <dgm:cxn modelId="{CA0152EB-2776-4549-95B9-50B9ABED1135}" type="presParOf" srcId="{52E80B70-932D-4969-80FF-5F64F4A74718}" destId="{5183C994-EE0D-42DD-A9A9-881D31988BDB}" srcOrd="6" destOrd="0" presId="urn:microsoft.com/office/officeart/2005/8/layout/list1"/>
    <dgm:cxn modelId="{E08A5112-8551-46DD-82E3-4D4491F506A6}" type="presParOf" srcId="{52E80B70-932D-4969-80FF-5F64F4A74718}" destId="{A06F3887-0B07-4C8C-BC2C-C969A66ED53E}" srcOrd="7" destOrd="0" presId="urn:microsoft.com/office/officeart/2005/8/layout/list1"/>
    <dgm:cxn modelId="{CA35486E-C129-4AD9-A6B1-F01C1A8855DD}" type="presParOf" srcId="{52E80B70-932D-4969-80FF-5F64F4A74718}" destId="{1A097706-E374-4E96-A457-BA35B67795CE}" srcOrd="8" destOrd="0" presId="urn:microsoft.com/office/officeart/2005/8/layout/list1"/>
    <dgm:cxn modelId="{4424E061-3139-4619-B27A-016E5BEE29C5}" type="presParOf" srcId="{1A097706-E374-4E96-A457-BA35B67795CE}" destId="{FE116A83-93CF-4475-B05F-A70D9CDD2278}" srcOrd="0" destOrd="0" presId="urn:microsoft.com/office/officeart/2005/8/layout/list1"/>
    <dgm:cxn modelId="{90432DD3-D327-44A3-9558-EE21040DD4FE}" type="presParOf" srcId="{1A097706-E374-4E96-A457-BA35B67795CE}" destId="{73FBA1EF-193B-41EC-AB45-9CE67BEE6875}" srcOrd="1" destOrd="0" presId="urn:microsoft.com/office/officeart/2005/8/layout/list1"/>
    <dgm:cxn modelId="{D4F0595D-CACC-460D-ACE8-50778DE7B7E9}" type="presParOf" srcId="{52E80B70-932D-4969-80FF-5F64F4A74718}" destId="{9E037867-C705-4349-8A7F-1C701AC81165}" srcOrd="9" destOrd="0" presId="urn:microsoft.com/office/officeart/2005/8/layout/list1"/>
    <dgm:cxn modelId="{05EC2F25-9082-4957-885F-B491F0436ED9}" type="presParOf" srcId="{52E80B70-932D-4969-80FF-5F64F4A74718}" destId="{FFDBE3C7-A731-49E2-9BB3-9A2CE6EB7AF3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8E1ADF2D-0D00-4144-85BC-16C5E16B2FCA}" type="doc">
      <dgm:prSet loTypeId="urn:microsoft.com/office/officeart/2008/layout/VerticalAccentLis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42FC9807-B43E-4EB9-9973-A3321001C897}">
      <dgm:prSet phldrT="[Text]" custT="1"/>
      <dgm:spPr/>
      <dgm:t>
        <a:bodyPr/>
        <a:lstStyle/>
        <a:p>
          <a:r>
            <a:rPr lang="en-US" sz="4000" b="0" i="0" dirty="0" smtClean="0">
              <a:hlinkClick xmlns:r="http://schemas.openxmlformats.org/officeDocument/2006/relationships" r:id="rId1"/>
            </a:rPr>
            <a:t>http://ndafile:8081/OnlineBankingProjectSpring/</a:t>
          </a:r>
          <a:endParaRPr lang="en-US" sz="4000" dirty="0"/>
        </a:p>
      </dgm:t>
    </dgm:pt>
    <dgm:pt modelId="{FE7E0101-1420-4172-8991-353333337E3A}" type="parTrans" cxnId="{E13613CE-9CE1-468F-9C23-D4F431EDFC3F}">
      <dgm:prSet/>
      <dgm:spPr/>
      <dgm:t>
        <a:bodyPr/>
        <a:lstStyle/>
        <a:p>
          <a:endParaRPr lang="en-US"/>
        </a:p>
      </dgm:t>
    </dgm:pt>
    <dgm:pt modelId="{48A47F57-311E-49A0-B257-C967622CC846}" type="sibTrans" cxnId="{E13613CE-9CE1-468F-9C23-D4F431EDFC3F}">
      <dgm:prSet/>
      <dgm:spPr/>
      <dgm:t>
        <a:bodyPr/>
        <a:lstStyle/>
        <a:p>
          <a:endParaRPr lang="en-US"/>
        </a:p>
      </dgm:t>
    </dgm:pt>
    <dgm:pt modelId="{8203F3C2-EEBD-42E8-8381-D7CA5754086C}" type="pres">
      <dgm:prSet presAssocID="{8E1ADF2D-0D00-4144-85BC-16C5E16B2FCA}" presName="Name0" presStyleCnt="0">
        <dgm:presLayoutVars>
          <dgm:chMax/>
          <dgm:chPref/>
          <dgm:dir/>
        </dgm:presLayoutVars>
      </dgm:prSet>
      <dgm:spPr/>
      <dgm:t>
        <a:bodyPr/>
        <a:lstStyle/>
        <a:p>
          <a:endParaRPr lang="en-US"/>
        </a:p>
      </dgm:t>
    </dgm:pt>
    <dgm:pt modelId="{EF2C1347-C03D-42FC-9A81-DBC07241392E}" type="pres">
      <dgm:prSet presAssocID="{42FC9807-B43E-4EB9-9973-A3321001C897}" presName="parenttextcomposite" presStyleCnt="0"/>
      <dgm:spPr/>
      <dgm:t>
        <a:bodyPr/>
        <a:lstStyle/>
        <a:p>
          <a:endParaRPr lang="en-US"/>
        </a:p>
      </dgm:t>
    </dgm:pt>
    <dgm:pt modelId="{081C681D-D68E-4F43-867A-101F72BEE7D6}" type="pres">
      <dgm:prSet presAssocID="{42FC9807-B43E-4EB9-9973-A3321001C897}" presName="parenttext" presStyleLbl="revTx" presStyleIdx="0" presStyleCnt="1">
        <dgm:presLayoutVars>
          <dgm:chMax/>
          <dgm:chPref val="2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0D2E167-A3CF-441F-9C73-FB2C16257F12}" type="pres">
      <dgm:prSet presAssocID="{42FC9807-B43E-4EB9-9973-A3321001C897}" presName="parallelogramComposite" presStyleCnt="0"/>
      <dgm:spPr/>
      <dgm:t>
        <a:bodyPr/>
        <a:lstStyle/>
        <a:p>
          <a:endParaRPr lang="en-US"/>
        </a:p>
      </dgm:t>
    </dgm:pt>
    <dgm:pt modelId="{4BFEA904-836C-4A4A-B14D-AC1CBB6F1C55}" type="pres">
      <dgm:prSet presAssocID="{42FC9807-B43E-4EB9-9973-A3321001C897}" presName="parallelogram1" presStyleLbl="alignNode1" presStyleIdx="0" presStyleCnt="7"/>
      <dgm:spPr/>
      <dgm:t>
        <a:bodyPr/>
        <a:lstStyle/>
        <a:p>
          <a:endParaRPr lang="en-US"/>
        </a:p>
      </dgm:t>
    </dgm:pt>
    <dgm:pt modelId="{AC993937-3AA9-4959-B97F-BBD4A0536D62}" type="pres">
      <dgm:prSet presAssocID="{42FC9807-B43E-4EB9-9973-A3321001C897}" presName="parallelogram2" presStyleLbl="alignNode1" presStyleIdx="1" presStyleCnt="7"/>
      <dgm:spPr/>
      <dgm:t>
        <a:bodyPr/>
        <a:lstStyle/>
        <a:p>
          <a:endParaRPr lang="en-US"/>
        </a:p>
      </dgm:t>
    </dgm:pt>
    <dgm:pt modelId="{57E72F2F-8562-4787-97B4-163834526F8D}" type="pres">
      <dgm:prSet presAssocID="{42FC9807-B43E-4EB9-9973-A3321001C897}" presName="parallelogram3" presStyleLbl="alignNode1" presStyleIdx="2" presStyleCnt="7"/>
      <dgm:spPr/>
      <dgm:t>
        <a:bodyPr/>
        <a:lstStyle/>
        <a:p>
          <a:endParaRPr lang="en-US"/>
        </a:p>
      </dgm:t>
    </dgm:pt>
    <dgm:pt modelId="{90780307-5D19-4F19-9D20-48B2B69AFE8A}" type="pres">
      <dgm:prSet presAssocID="{42FC9807-B43E-4EB9-9973-A3321001C897}" presName="parallelogram4" presStyleLbl="alignNode1" presStyleIdx="3" presStyleCnt="7"/>
      <dgm:spPr/>
      <dgm:t>
        <a:bodyPr/>
        <a:lstStyle/>
        <a:p>
          <a:endParaRPr lang="en-US"/>
        </a:p>
      </dgm:t>
    </dgm:pt>
    <dgm:pt modelId="{BDFD1517-513B-48DA-83D7-3B2790AD7EE0}" type="pres">
      <dgm:prSet presAssocID="{42FC9807-B43E-4EB9-9973-A3321001C897}" presName="parallelogram5" presStyleLbl="alignNode1" presStyleIdx="4" presStyleCnt="7"/>
      <dgm:spPr/>
      <dgm:t>
        <a:bodyPr/>
        <a:lstStyle/>
        <a:p>
          <a:endParaRPr lang="en-US"/>
        </a:p>
      </dgm:t>
    </dgm:pt>
    <dgm:pt modelId="{4A77B84D-27C8-4095-8FF3-5467799617D3}" type="pres">
      <dgm:prSet presAssocID="{42FC9807-B43E-4EB9-9973-A3321001C897}" presName="parallelogram6" presStyleLbl="alignNode1" presStyleIdx="5" presStyleCnt="7"/>
      <dgm:spPr/>
      <dgm:t>
        <a:bodyPr/>
        <a:lstStyle/>
        <a:p>
          <a:endParaRPr lang="en-US"/>
        </a:p>
      </dgm:t>
    </dgm:pt>
    <dgm:pt modelId="{40387341-DE6D-4063-87EC-04622A28F708}" type="pres">
      <dgm:prSet presAssocID="{42FC9807-B43E-4EB9-9973-A3321001C897}" presName="parallelogram7" presStyleLbl="alignNode1" presStyleIdx="6" presStyleCnt="7"/>
      <dgm:spPr/>
      <dgm:t>
        <a:bodyPr/>
        <a:lstStyle/>
        <a:p>
          <a:endParaRPr lang="en-US"/>
        </a:p>
      </dgm:t>
    </dgm:pt>
  </dgm:ptLst>
  <dgm:cxnLst>
    <dgm:cxn modelId="{4719D85C-4ADB-43B9-B314-22607F65EDCD}" type="presOf" srcId="{8E1ADF2D-0D00-4144-85BC-16C5E16B2FCA}" destId="{8203F3C2-EEBD-42E8-8381-D7CA5754086C}" srcOrd="0" destOrd="0" presId="urn:microsoft.com/office/officeart/2008/layout/VerticalAccentList"/>
    <dgm:cxn modelId="{E13613CE-9CE1-468F-9C23-D4F431EDFC3F}" srcId="{8E1ADF2D-0D00-4144-85BC-16C5E16B2FCA}" destId="{42FC9807-B43E-4EB9-9973-A3321001C897}" srcOrd="0" destOrd="0" parTransId="{FE7E0101-1420-4172-8991-353333337E3A}" sibTransId="{48A47F57-311E-49A0-B257-C967622CC846}"/>
    <dgm:cxn modelId="{53F90AFD-7D1E-4D7D-9A2D-137D069ABFC5}" type="presOf" srcId="{42FC9807-B43E-4EB9-9973-A3321001C897}" destId="{081C681D-D68E-4F43-867A-101F72BEE7D6}" srcOrd="0" destOrd="0" presId="urn:microsoft.com/office/officeart/2008/layout/VerticalAccentList"/>
    <dgm:cxn modelId="{52ED0431-826E-4FDD-AE98-21E6D794EA6D}" type="presParOf" srcId="{8203F3C2-EEBD-42E8-8381-D7CA5754086C}" destId="{EF2C1347-C03D-42FC-9A81-DBC07241392E}" srcOrd="0" destOrd="0" presId="urn:microsoft.com/office/officeart/2008/layout/VerticalAccentList"/>
    <dgm:cxn modelId="{6574052C-60DF-447A-A3B4-B8532690915D}" type="presParOf" srcId="{EF2C1347-C03D-42FC-9A81-DBC07241392E}" destId="{081C681D-D68E-4F43-867A-101F72BEE7D6}" srcOrd="0" destOrd="0" presId="urn:microsoft.com/office/officeart/2008/layout/VerticalAccentList"/>
    <dgm:cxn modelId="{B237F6E6-0AB2-46AE-81A7-37124024F1EF}" type="presParOf" srcId="{8203F3C2-EEBD-42E8-8381-D7CA5754086C}" destId="{80D2E167-A3CF-441F-9C73-FB2C16257F12}" srcOrd="1" destOrd="0" presId="urn:microsoft.com/office/officeart/2008/layout/VerticalAccentList"/>
    <dgm:cxn modelId="{B97D1852-2D15-4602-A752-39C95003E394}" type="presParOf" srcId="{80D2E167-A3CF-441F-9C73-FB2C16257F12}" destId="{4BFEA904-836C-4A4A-B14D-AC1CBB6F1C55}" srcOrd="0" destOrd="0" presId="urn:microsoft.com/office/officeart/2008/layout/VerticalAccentList"/>
    <dgm:cxn modelId="{E6232726-6BBF-4644-8EFD-613E3325303E}" type="presParOf" srcId="{80D2E167-A3CF-441F-9C73-FB2C16257F12}" destId="{AC993937-3AA9-4959-B97F-BBD4A0536D62}" srcOrd="1" destOrd="0" presId="urn:microsoft.com/office/officeart/2008/layout/VerticalAccentList"/>
    <dgm:cxn modelId="{B9D2A78D-4AC6-4989-8181-67F81519F976}" type="presParOf" srcId="{80D2E167-A3CF-441F-9C73-FB2C16257F12}" destId="{57E72F2F-8562-4787-97B4-163834526F8D}" srcOrd="2" destOrd="0" presId="urn:microsoft.com/office/officeart/2008/layout/VerticalAccentList"/>
    <dgm:cxn modelId="{2F50075D-1E70-4103-B741-950549BB50E6}" type="presParOf" srcId="{80D2E167-A3CF-441F-9C73-FB2C16257F12}" destId="{90780307-5D19-4F19-9D20-48B2B69AFE8A}" srcOrd="3" destOrd="0" presId="urn:microsoft.com/office/officeart/2008/layout/VerticalAccentList"/>
    <dgm:cxn modelId="{1FF28E7B-309F-4BE6-94BB-F7050E86DDB9}" type="presParOf" srcId="{80D2E167-A3CF-441F-9C73-FB2C16257F12}" destId="{BDFD1517-513B-48DA-83D7-3B2790AD7EE0}" srcOrd="4" destOrd="0" presId="urn:microsoft.com/office/officeart/2008/layout/VerticalAccentList"/>
    <dgm:cxn modelId="{7AC611FA-27E5-41E9-A461-8877477ADDEE}" type="presParOf" srcId="{80D2E167-A3CF-441F-9C73-FB2C16257F12}" destId="{4A77B84D-27C8-4095-8FF3-5467799617D3}" srcOrd="5" destOrd="0" presId="urn:microsoft.com/office/officeart/2008/layout/VerticalAccentList"/>
    <dgm:cxn modelId="{56A379F5-87A8-404F-B023-C7A67EE98886}" type="presParOf" srcId="{80D2E167-A3CF-441F-9C73-FB2C16257F12}" destId="{40387341-DE6D-4063-87EC-04622A28F708}" srcOrd="6" destOrd="0" presId="urn:microsoft.com/office/officeart/2008/layout/VerticalAccent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C93B3A-2237-4C70-A356-F50F5A22670C}">
      <dsp:nvSpPr>
        <dsp:cNvPr id="0" name=""/>
        <dsp:cNvSpPr/>
      </dsp:nvSpPr>
      <dsp:spPr>
        <a:xfrm>
          <a:off x="0" y="0"/>
          <a:ext cx="8229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FF2F6AF-4C58-4A89-849F-EAD898AC163C}">
      <dsp:nvSpPr>
        <dsp:cNvPr id="0" name=""/>
        <dsp:cNvSpPr/>
      </dsp:nvSpPr>
      <dsp:spPr>
        <a:xfrm>
          <a:off x="0" y="0"/>
          <a:ext cx="8229600" cy="6324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lvl="0" algn="l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900" b="1" kern="1200" dirty="0" smtClean="0">
              <a:solidFill>
                <a:schemeClr val="bg1"/>
              </a:solidFill>
            </a:rPr>
            <a:t>Raj Subash b		      	 -</a:t>
          </a:r>
          <a:r>
            <a:rPr lang="en-IN" sz="2900" b="1" kern="1200" dirty="0" smtClean="0">
              <a:solidFill>
                <a:schemeClr val="bg1"/>
              </a:solidFill>
            </a:rPr>
            <a:t>093964_IN</a:t>
          </a:r>
          <a:endParaRPr lang="en-US" sz="2900" kern="1200" dirty="0">
            <a:solidFill>
              <a:schemeClr val="bg1"/>
            </a:solidFill>
          </a:endParaRPr>
        </a:p>
      </dsp:txBody>
      <dsp:txXfrm>
        <a:off x="0" y="0"/>
        <a:ext cx="8229600" cy="632420"/>
      </dsp:txXfrm>
    </dsp:sp>
    <dsp:sp modelId="{F2200187-A2C7-4B86-A565-FB85E3A0CC13}">
      <dsp:nvSpPr>
        <dsp:cNvPr id="0" name=""/>
        <dsp:cNvSpPr/>
      </dsp:nvSpPr>
      <dsp:spPr>
        <a:xfrm>
          <a:off x="0" y="632420"/>
          <a:ext cx="8229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8F4252E-DBA7-4B81-89FB-2DA0B8759E9A}">
      <dsp:nvSpPr>
        <dsp:cNvPr id="0" name=""/>
        <dsp:cNvSpPr/>
      </dsp:nvSpPr>
      <dsp:spPr>
        <a:xfrm>
          <a:off x="0" y="632420"/>
          <a:ext cx="8229600" cy="6324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lvl="0" algn="l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900" b="1" kern="1200" dirty="0" smtClean="0">
              <a:solidFill>
                <a:schemeClr val="bg1"/>
              </a:solidFill>
            </a:rPr>
            <a:t>Pavithra Venkatesan                         -</a:t>
          </a:r>
          <a:r>
            <a:rPr lang="en-IN" sz="2900" b="1" kern="1200" dirty="0" smtClean="0">
              <a:solidFill>
                <a:schemeClr val="bg1"/>
              </a:solidFill>
            </a:rPr>
            <a:t>094000_IN</a:t>
          </a:r>
          <a:endParaRPr lang="en-US" sz="2900" kern="1200" dirty="0">
            <a:solidFill>
              <a:schemeClr val="bg1"/>
            </a:solidFill>
          </a:endParaRPr>
        </a:p>
      </dsp:txBody>
      <dsp:txXfrm>
        <a:off x="0" y="632420"/>
        <a:ext cx="8229600" cy="632420"/>
      </dsp:txXfrm>
    </dsp:sp>
    <dsp:sp modelId="{567FEDE5-B75E-4C22-BB68-647FFB0B2D9F}">
      <dsp:nvSpPr>
        <dsp:cNvPr id="0" name=""/>
        <dsp:cNvSpPr/>
      </dsp:nvSpPr>
      <dsp:spPr>
        <a:xfrm>
          <a:off x="0" y="1264840"/>
          <a:ext cx="8229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94E3BBD-B96B-4903-ABCB-CCB48751F75C}">
      <dsp:nvSpPr>
        <dsp:cNvPr id="0" name=""/>
        <dsp:cNvSpPr/>
      </dsp:nvSpPr>
      <dsp:spPr>
        <a:xfrm>
          <a:off x="0" y="1264840"/>
          <a:ext cx="8229600" cy="6324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lvl="0" algn="l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900" b="1" kern="1200" dirty="0" smtClean="0">
              <a:solidFill>
                <a:schemeClr val="bg1"/>
              </a:solidFill>
            </a:rPr>
            <a:t>Laveena  R 		                -</a:t>
          </a:r>
          <a:r>
            <a:rPr lang="en-IN" sz="2900" b="1" kern="1200" dirty="0" smtClean="0">
              <a:solidFill>
                <a:schemeClr val="bg1"/>
              </a:solidFill>
            </a:rPr>
            <a:t>093951_IN</a:t>
          </a:r>
          <a:endParaRPr lang="en-US" sz="2900" kern="1200" dirty="0">
            <a:solidFill>
              <a:schemeClr val="bg1"/>
            </a:solidFill>
          </a:endParaRPr>
        </a:p>
      </dsp:txBody>
      <dsp:txXfrm>
        <a:off x="0" y="1264840"/>
        <a:ext cx="8229600" cy="632420"/>
      </dsp:txXfrm>
    </dsp:sp>
    <dsp:sp modelId="{6BD9C67A-3250-41AE-9171-8E7E11EBF876}">
      <dsp:nvSpPr>
        <dsp:cNvPr id="0" name=""/>
        <dsp:cNvSpPr/>
      </dsp:nvSpPr>
      <dsp:spPr>
        <a:xfrm>
          <a:off x="0" y="1897261"/>
          <a:ext cx="8229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9865177-4539-4AAB-8DB2-A0ABEF77F0D4}">
      <dsp:nvSpPr>
        <dsp:cNvPr id="0" name=""/>
        <dsp:cNvSpPr/>
      </dsp:nvSpPr>
      <dsp:spPr>
        <a:xfrm>
          <a:off x="0" y="1897261"/>
          <a:ext cx="8229600" cy="6324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lvl="0" algn="l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900" b="1" kern="1200" dirty="0" smtClean="0">
              <a:solidFill>
                <a:schemeClr val="bg1"/>
              </a:solidFill>
            </a:rPr>
            <a:t>Vinodhini Mohan                              -</a:t>
          </a:r>
          <a:r>
            <a:rPr lang="en-IN" sz="2900" b="1" kern="1200" dirty="0" smtClean="0">
              <a:solidFill>
                <a:schemeClr val="bg1"/>
              </a:solidFill>
            </a:rPr>
            <a:t>093972_IN</a:t>
          </a:r>
          <a:endParaRPr lang="en-US" sz="2900" kern="1200" dirty="0">
            <a:solidFill>
              <a:schemeClr val="bg1"/>
            </a:solidFill>
          </a:endParaRPr>
        </a:p>
      </dsp:txBody>
      <dsp:txXfrm>
        <a:off x="0" y="1897261"/>
        <a:ext cx="8229600" cy="632420"/>
      </dsp:txXfrm>
    </dsp:sp>
    <dsp:sp modelId="{B149B3F3-9279-4348-93F4-D571B9DCAF60}">
      <dsp:nvSpPr>
        <dsp:cNvPr id="0" name=""/>
        <dsp:cNvSpPr/>
      </dsp:nvSpPr>
      <dsp:spPr>
        <a:xfrm>
          <a:off x="0" y="2529681"/>
          <a:ext cx="8229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332E62F-1EC4-4D60-A69F-AC7C6895DD00}">
      <dsp:nvSpPr>
        <dsp:cNvPr id="0" name=""/>
        <dsp:cNvSpPr/>
      </dsp:nvSpPr>
      <dsp:spPr>
        <a:xfrm>
          <a:off x="0" y="2529681"/>
          <a:ext cx="8229600" cy="6324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lvl="0" algn="l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900" b="1" kern="1200" dirty="0" smtClean="0">
              <a:solidFill>
                <a:schemeClr val="bg1"/>
              </a:solidFill>
            </a:rPr>
            <a:t>Aaqib Ur Rehman   	                -</a:t>
          </a:r>
          <a:r>
            <a:rPr lang="en-IN" sz="2900" b="1" kern="1200" dirty="0" smtClean="0">
              <a:solidFill>
                <a:schemeClr val="bg1"/>
              </a:solidFill>
            </a:rPr>
            <a:t>094049_IN</a:t>
          </a:r>
          <a:endParaRPr lang="en-US" sz="2900" kern="1200" dirty="0">
            <a:solidFill>
              <a:schemeClr val="bg1"/>
            </a:solidFill>
          </a:endParaRPr>
        </a:p>
      </dsp:txBody>
      <dsp:txXfrm>
        <a:off x="0" y="2529681"/>
        <a:ext cx="8229600" cy="632420"/>
      </dsp:txXfrm>
    </dsp:sp>
    <dsp:sp modelId="{4840220C-9ACF-4733-B08C-760FBE1AF606}">
      <dsp:nvSpPr>
        <dsp:cNvPr id="0" name=""/>
        <dsp:cNvSpPr/>
      </dsp:nvSpPr>
      <dsp:spPr>
        <a:xfrm>
          <a:off x="0" y="3162101"/>
          <a:ext cx="8229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99DEE9B-D586-4443-AA54-D03AA915BFAA}">
      <dsp:nvSpPr>
        <dsp:cNvPr id="0" name=""/>
        <dsp:cNvSpPr/>
      </dsp:nvSpPr>
      <dsp:spPr>
        <a:xfrm>
          <a:off x="0" y="3162101"/>
          <a:ext cx="8229600" cy="6324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lvl="0" algn="l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900" b="1" kern="1200" dirty="0" smtClean="0">
              <a:solidFill>
                <a:schemeClr val="bg1"/>
              </a:solidFill>
            </a:rPr>
            <a:t>Bandi Dileep 	                               -</a:t>
          </a:r>
          <a:r>
            <a:rPr lang="en-IN" sz="2900" b="1" kern="1200" dirty="0" smtClean="0">
              <a:solidFill>
                <a:schemeClr val="bg1"/>
              </a:solidFill>
            </a:rPr>
            <a:t>093940_IN</a:t>
          </a:r>
          <a:endParaRPr lang="en-US" sz="2900" kern="1200" dirty="0">
            <a:solidFill>
              <a:schemeClr val="bg1"/>
            </a:solidFill>
          </a:endParaRPr>
        </a:p>
      </dsp:txBody>
      <dsp:txXfrm>
        <a:off x="0" y="3162101"/>
        <a:ext cx="8229600" cy="632420"/>
      </dsp:txXfrm>
    </dsp:sp>
    <dsp:sp modelId="{61134A02-2F8C-4B53-BED6-5ECF95F82B56}">
      <dsp:nvSpPr>
        <dsp:cNvPr id="0" name=""/>
        <dsp:cNvSpPr/>
      </dsp:nvSpPr>
      <dsp:spPr>
        <a:xfrm>
          <a:off x="0" y="3794522"/>
          <a:ext cx="8229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C49DE50-8F13-4B35-B018-021D11FF83C3}">
      <dsp:nvSpPr>
        <dsp:cNvPr id="0" name=""/>
        <dsp:cNvSpPr/>
      </dsp:nvSpPr>
      <dsp:spPr>
        <a:xfrm>
          <a:off x="0" y="3794522"/>
          <a:ext cx="8229600" cy="6324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lvl="0" algn="l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900" b="1" kern="1200" dirty="0" smtClean="0">
              <a:solidFill>
                <a:schemeClr val="bg1"/>
              </a:solidFill>
            </a:rPr>
            <a:t>Rohit Hurkadli	                               -</a:t>
          </a:r>
          <a:r>
            <a:rPr lang="en-IN" sz="2900" b="1" kern="1200" dirty="0" smtClean="0">
              <a:solidFill>
                <a:schemeClr val="bg1"/>
              </a:solidFill>
            </a:rPr>
            <a:t>094048_IN</a:t>
          </a:r>
          <a:endParaRPr lang="en-US" sz="2900" kern="1200" dirty="0">
            <a:solidFill>
              <a:schemeClr val="bg1"/>
            </a:solidFill>
          </a:endParaRPr>
        </a:p>
      </dsp:txBody>
      <dsp:txXfrm>
        <a:off x="0" y="3794522"/>
        <a:ext cx="8229600" cy="632420"/>
      </dsp:txXfrm>
    </dsp:sp>
    <dsp:sp modelId="{CCF0CF31-70F2-44E9-9B54-181BD9458C73}">
      <dsp:nvSpPr>
        <dsp:cNvPr id="0" name=""/>
        <dsp:cNvSpPr/>
      </dsp:nvSpPr>
      <dsp:spPr>
        <a:xfrm>
          <a:off x="0" y="4426942"/>
          <a:ext cx="8229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85EA976-DC99-4B96-9519-34D7E71AAAC2}">
      <dsp:nvSpPr>
        <dsp:cNvPr id="0" name=""/>
        <dsp:cNvSpPr/>
      </dsp:nvSpPr>
      <dsp:spPr>
        <a:xfrm>
          <a:off x="0" y="4426942"/>
          <a:ext cx="8229600" cy="6324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lvl="0" algn="l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900" b="1" kern="1200" dirty="0" smtClean="0">
              <a:solidFill>
                <a:schemeClr val="bg1"/>
              </a:solidFill>
            </a:rPr>
            <a:t>Sumit Upadhyay	                               -</a:t>
          </a:r>
          <a:r>
            <a:rPr lang="en-IN" sz="2900" b="1" kern="1200" dirty="0" smtClean="0">
              <a:solidFill>
                <a:schemeClr val="bg1"/>
              </a:solidFill>
            </a:rPr>
            <a:t>093983_IN</a:t>
          </a:r>
          <a:endParaRPr lang="en-US" sz="2900" kern="1200" dirty="0">
            <a:solidFill>
              <a:schemeClr val="bg1"/>
            </a:solidFill>
          </a:endParaRPr>
        </a:p>
      </dsp:txBody>
      <dsp:txXfrm>
        <a:off x="0" y="4426942"/>
        <a:ext cx="8229600" cy="63242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03F0A7E-7788-4D61-BD56-49558CA1E774}">
      <dsp:nvSpPr>
        <dsp:cNvPr id="0" name=""/>
        <dsp:cNvSpPr/>
      </dsp:nvSpPr>
      <dsp:spPr>
        <a:xfrm>
          <a:off x="0" y="0"/>
          <a:ext cx="8229600" cy="388620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lvl="0" algn="ctr" defTabSz="12001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b="0" kern="1200" dirty="0" smtClean="0">
              <a:latin typeface="Segoe UI Symbol" panose="020B0502040204020203" pitchFamily="34" charset="0"/>
              <a:ea typeface="Segoe UI Symbol" panose="020B0502040204020203" pitchFamily="34" charset="0"/>
              <a:cs typeface="Times New Roman" panose="02020603050405020304" pitchFamily="18" charset="0"/>
            </a:rPr>
            <a:t>A test case is a set of conditions or variables under which a tester will determine whether a system under test satisfies requirements or works correctly.</a:t>
          </a:r>
          <a:endParaRPr lang="en-US" sz="2700" b="0" kern="1200" dirty="0">
            <a:latin typeface="Segoe UI Symbol" panose="020B0502040204020203" pitchFamily="34" charset="0"/>
            <a:ea typeface="Segoe UI Symbol" panose="020B0502040204020203" pitchFamily="34" charset="0"/>
            <a:cs typeface="Times New Roman" panose="02020603050405020304" pitchFamily="18" charset="0"/>
          </a:endParaRPr>
        </a:p>
      </dsp:txBody>
      <dsp:txXfrm>
        <a:off x="0" y="0"/>
        <a:ext cx="8229600" cy="2098548"/>
      </dsp:txXfrm>
    </dsp:sp>
    <dsp:sp modelId="{C5E947E3-E9E9-4F65-A76E-E49A47AFC307}">
      <dsp:nvSpPr>
        <dsp:cNvPr id="0" name=""/>
        <dsp:cNvSpPr/>
      </dsp:nvSpPr>
      <dsp:spPr>
        <a:xfrm>
          <a:off x="4018" y="2020823"/>
          <a:ext cx="2740521" cy="1787652"/>
        </a:xfrm>
        <a:prstGeom prst="rect">
          <a:avLst/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z="12700"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4480" tIns="50800" rIns="284480" bIns="50800" numCol="1" spcCol="1270" anchor="ctr" anchorCtr="0">
          <a:noAutofit/>
        </a:bodyPr>
        <a:lstStyle/>
        <a:p>
          <a:pPr lvl="0" algn="ctr" defTabSz="1778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4000" b="1" kern="1200" dirty="0" smtClean="0"/>
            <a:t>No. of Test Cases</a:t>
          </a:r>
          <a:r>
            <a:rPr lang="en-US" sz="4000" b="0" kern="1200" dirty="0" smtClean="0"/>
            <a:t>:</a:t>
          </a:r>
          <a:endParaRPr lang="en-US" sz="4000" kern="1200" dirty="0"/>
        </a:p>
      </dsp:txBody>
      <dsp:txXfrm>
        <a:off x="4018" y="2020823"/>
        <a:ext cx="2740521" cy="1787652"/>
      </dsp:txXfrm>
    </dsp:sp>
    <dsp:sp modelId="{86CBAF8B-A562-42E6-979E-634C3D45F9C1}">
      <dsp:nvSpPr>
        <dsp:cNvPr id="0" name=""/>
        <dsp:cNvSpPr/>
      </dsp:nvSpPr>
      <dsp:spPr>
        <a:xfrm>
          <a:off x="2744539" y="2020823"/>
          <a:ext cx="2740521" cy="1787652"/>
        </a:xfrm>
        <a:prstGeom prst="rect">
          <a:avLst/>
        </a:prstGeom>
        <a:solidFill>
          <a:schemeClr val="accent5">
            <a:tint val="40000"/>
            <a:alpha val="90000"/>
            <a:hueOff val="-5370241"/>
            <a:satOff val="24126"/>
            <a:lumOff val="1658"/>
            <a:alphaOff val="0"/>
          </a:schemeClr>
        </a:solidFill>
        <a:ln w="127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z="12700"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4480" tIns="50800" rIns="284480" bIns="50800" numCol="1" spcCol="1270" anchor="ctr" anchorCtr="0">
          <a:noAutofit/>
        </a:bodyPr>
        <a:lstStyle/>
        <a:p>
          <a:pPr lvl="0" algn="ctr" defTabSz="1778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4000" b="1" kern="1200" dirty="0" smtClean="0"/>
            <a:t>No. of Test Cases Passed:</a:t>
          </a:r>
          <a:endParaRPr lang="en-US" sz="4000" kern="1200" dirty="0"/>
        </a:p>
      </dsp:txBody>
      <dsp:txXfrm>
        <a:off x="2744539" y="2020823"/>
        <a:ext cx="2740521" cy="1787652"/>
      </dsp:txXfrm>
    </dsp:sp>
    <dsp:sp modelId="{E1E5E058-FDF7-4404-91D9-20F790E4B8AE}">
      <dsp:nvSpPr>
        <dsp:cNvPr id="0" name=""/>
        <dsp:cNvSpPr/>
      </dsp:nvSpPr>
      <dsp:spPr>
        <a:xfrm>
          <a:off x="5485060" y="2020823"/>
          <a:ext cx="2740521" cy="1787652"/>
        </a:xfrm>
        <a:prstGeom prst="rect">
          <a:avLst/>
        </a:prstGeom>
        <a:solidFill>
          <a:schemeClr val="accent5">
            <a:tint val="40000"/>
            <a:alpha val="90000"/>
            <a:hueOff val="-10740482"/>
            <a:satOff val="48253"/>
            <a:lumOff val="3317"/>
            <a:alphaOff val="0"/>
          </a:schemeClr>
        </a:solidFill>
        <a:ln w="127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z="12700"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4480" tIns="50800" rIns="284480" bIns="50800" numCol="1" spcCol="1270" anchor="ctr" anchorCtr="0">
          <a:noAutofit/>
        </a:bodyPr>
        <a:lstStyle/>
        <a:p>
          <a:pPr lvl="0" algn="ctr" defTabSz="1778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4000" b="1" kern="1200" dirty="0" smtClean="0"/>
            <a:t>No. of Test Cases Failed:</a:t>
          </a:r>
          <a:endParaRPr lang="en-US" sz="4000" kern="1200" dirty="0"/>
        </a:p>
      </dsp:txBody>
      <dsp:txXfrm>
        <a:off x="5485060" y="2020823"/>
        <a:ext cx="2740521" cy="178765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927A8C-CCD5-40CE-80B4-15BA58E63A9A}">
      <dsp:nvSpPr>
        <dsp:cNvPr id="0" name=""/>
        <dsp:cNvSpPr/>
      </dsp:nvSpPr>
      <dsp:spPr>
        <a:xfrm>
          <a:off x="1899819" y="699663"/>
          <a:ext cx="4640556" cy="4640556"/>
        </a:xfrm>
        <a:prstGeom prst="blockArc">
          <a:avLst>
            <a:gd name="adj1" fmla="val 11867752"/>
            <a:gd name="adj2" fmla="val 16177403"/>
            <a:gd name="adj3" fmla="val 4643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96000"/>
                <a:satMod val="130000"/>
                <a:lumMod val="114000"/>
              </a:schemeClr>
            </a:gs>
            <a:gs pos="60000">
              <a:schemeClr val="accent6">
                <a:hueOff val="0"/>
                <a:satOff val="0"/>
                <a:lumOff val="0"/>
                <a:alphaOff val="0"/>
                <a:tint val="100000"/>
                <a:satMod val="106000"/>
                <a:lumMod val="11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</a:schemeClr>
            </a:gs>
          </a:gsLst>
          <a:lin ang="5400000" scaled="0"/>
        </a:gradFill>
        <a:ln>
          <a:noFill/>
        </a:ln>
        <a:effectLst>
          <a:outerShdw blurRad="47625" dist="38100" dir="5400000" sy="98000" rotWithShape="0">
            <a:srgbClr val="000000">
              <a:alpha val="48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1BF0002-BFEE-4375-AC3B-E39C9BB23078}">
      <dsp:nvSpPr>
        <dsp:cNvPr id="0" name=""/>
        <dsp:cNvSpPr/>
      </dsp:nvSpPr>
      <dsp:spPr>
        <a:xfrm>
          <a:off x="1724607" y="787267"/>
          <a:ext cx="4640556" cy="4640556"/>
        </a:xfrm>
        <a:prstGeom prst="blockArc">
          <a:avLst>
            <a:gd name="adj1" fmla="val 7582620"/>
            <a:gd name="adj2" fmla="val 11881866"/>
            <a:gd name="adj3" fmla="val 4643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96000"/>
                <a:satMod val="130000"/>
                <a:lumMod val="114000"/>
              </a:schemeClr>
            </a:gs>
            <a:gs pos="60000">
              <a:schemeClr val="accent5">
                <a:hueOff val="0"/>
                <a:satOff val="0"/>
                <a:lumOff val="0"/>
                <a:alphaOff val="0"/>
                <a:tint val="100000"/>
                <a:satMod val="106000"/>
                <a:lumMod val="11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</a:schemeClr>
            </a:gs>
          </a:gsLst>
          <a:lin ang="5400000" scaled="0"/>
        </a:gradFill>
        <a:ln>
          <a:noFill/>
        </a:ln>
        <a:effectLst>
          <a:outerShdw blurRad="47625" dist="38100" dir="5400000" sy="98000" rotWithShape="0">
            <a:srgbClr val="000000">
              <a:alpha val="48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DC7A574-BDED-4C45-9E07-A51F96917482}">
      <dsp:nvSpPr>
        <dsp:cNvPr id="0" name=""/>
        <dsp:cNvSpPr/>
      </dsp:nvSpPr>
      <dsp:spPr>
        <a:xfrm>
          <a:off x="1897823" y="695953"/>
          <a:ext cx="4640556" cy="4640556"/>
        </a:xfrm>
        <a:prstGeom prst="blockArc">
          <a:avLst>
            <a:gd name="adj1" fmla="val 3240000"/>
            <a:gd name="adj2" fmla="val 7560000"/>
            <a:gd name="adj3" fmla="val 4643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96000"/>
                <a:satMod val="130000"/>
                <a:lumMod val="114000"/>
              </a:schemeClr>
            </a:gs>
            <a:gs pos="60000">
              <a:schemeClr val="accent4">
                <a:hueOff val="0"/>
                <a:satOff val="0"/>
                <a:lumOff val="0"/>
                <a:alphaOff val="0"/>
                <a:tint val="100000"/>
                <a:satMod val="106000"/>
                <a:lumMod val="11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</a:schemeClr>
            </a:gs>
          </a:gsLst>
          <a:lin ang="5400000" scaled="0"/>
        </a:gradFill>
        <a:ln>
          <a:noFill/>
        </a:ln>
        <a:effectLst>
          <a:outerShdw blurRad="47625" dist="38100" dir="5400000" sy="98000" rotWithShape="0">
            <a:srgbClr val="000000">
              <a:alpha val="48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2F51F07A-E66A-40B1-A3E4-B6EAD02DD3F5}">
      <dsp:nvSpPr>
        <dsp:cNvPr id="0" name=""/>
        <dsp:cNvSpPr/>
      </dsp:nvSpPr>
      <dsp:spPr>
        <a:xfrm>
          <a:off x="1890941" y="700973"/>
          <a:ext cx="4640556" cy="4640556"/>
        </a:xfrm>
        <a:prstGeom prst="blockArc">
          <a:avLst>
            <a:gd name="adj1" fmla="val 20524163"/>
            <a:gd name="adj2" fmla="val 3227080"/>
            <a:gd name="adj3" fmla="val 4643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96000"/>
                <a:satMod val="130000"/>
                <a:lumMod val="114000"/>
              </a:schemeClr>
            </a:gs>
            <a:gs pos="60000">
              <a:schemeClr val="accent3">
                <a:hueOff val="0"/>
                <a:satOff val="0"/>
                <a:lumOff val="0"/>
                <a:alphaOff val="0"/>
                <a:tint val="100000"/>
                <a:satMod val="106000"/>
                <a:lumMod val="11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</a:schemeClr>
            </a:gs>
          </a:gsLst>
          <a:lin ang="5400000" scaled="0"/>
        </a:gradFill>
        <a:ln>
          <a:noFill/>
        </a:ln>
        <a:effectLst>
          <a:outerShdw blurRad="47625" dist="38100" dir="5400000" sy="98000" rotWithShape="0">
            <a:srgbClr val="000000">
              <a:alpha val="48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1E41578-FCF1-460E-9A78-823EF97AB724}">
      <dsp:nvSpPr>
        <dsp:cNvPr id="0" name=""/>
        <dsp:cNvSpPr/>
      </dsp:nvSpPr>
      <dsp:spPr>
        <a:xfrm>
          <a:off x="2075033" y="699650"/>
          <a:ext cx="4640556" cy="4640556"/>
        </a:xfrm>
        <a:prstGeom prst="blockArc">
          <a:avLst>
            <a:gd name="adj1" fmla="val 16212900"/>
            <a:gd name="adj2" fmla="val 20532188"/>
            <a:gd name="adj3" fmla="val 4643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96000"/>
                <a:satMod val="130000"/>
                <a:lumMod val="114000"/>
              </a:schemeClr>
            </a:gs>
            <a:gs pos="60000">
              <a:schemeClr val="accent2">
                <a:hueOff val="0"/>
                <a:satOff val="0"/>
                <a:lumOff val="0"/>
                <a:alphaOff val="0"/>
                <a:tint val="100000"/>
                <a:satMod val="106000"/>
                <a:lumMod val="11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</a:schemeClr>
            </a:gs>
          </a:gsLst>
          <a:lin ang="5400000" scaled="0"/>
        </a:gradFill>
        <a:ln>
          <a:noFill/>
        </a:ln>
        <a:effectLst>
          <a:outerShdw blurRad="47625" dist="38100" dir="5400000" sy="98000" rotWithShape="0">
            <a:srgbClr val="000000">
              <a:alpha val="48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BE9EA00-B9B6-4BCC-9C6C-11C108A78AFC}">
      <dsp:nvSpPr>
        <dsp:cNvPr id="0" name=""/>
        <dsp:cNvSpPr/>
      </dsp:nvSpPr>
      <dsp:spPr>
        <a:xfrm>
          <a:off x="3200402" y="1904998"/>
          <a:ext cx="2035398" cy="2222467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96000"/>
                <a:satMod val="130000"/>
                <a:lumMod val="114000"/>
              </a:schemeClr>
            </a:gs>
            <a:gs pos="60000">
              <a:schemeClr val="accent1">
                <a:hueOff val="0"/>
                <a:satOff val="0"/>
                <a:lumOff val="0"/>
                <a:alphaOff val="0"/>
                <a:tint val="100000"/>
                <a:satMod val="106000"/>
                <a:lumMod val="11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</a:schemeClr>
            </a:gs>
          </a:gsLst>
          <a:lin ang="5400000" scaled="0"/>
        </a:gradFill>
        <a:ln>
          <a:noFill/>
        </a:ln>
        <a:effectLst>
          <a:outerShdw blurRad="47625" dist="38100" dir="5400000" sy="98000" rotWithShape="0">
            <a:srgbClr val="000000">
              <a:alpha val="4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2070" tIns="52070" rIns="52070" bIns="52070" numCol="1" spcCol="1270" anchor="ctr" anchorCtr="0">
          <a:noAutofit/>
        </a:bodyPr>
        <a:lstStyle/>
        <a:p>
          <a:pPr lvl="0" algn="ctr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4100" kern="1200" dirty="0" smtClean="0"/>
            <a:t>USE CASES</a:t>
          </a:r>
          <a:endParaRPr lang="en-US" sz="4100" kern="1200" dirty="0"/>
        </a:p>
      </dsp:txBody>
      <dsp:txXfrm>
        <a:off x="3498479" y="2230471"/>
        <a:ext cx="1439244" cy="1571521"/>
      </dsp:txXfrm>
    </dsp:sp>
    <dsp:sp modelId="{C7EB2B04-53F1-4FE4-A561-5153AD376101}">
      <dsp:nvSpPr>
        <dsp:cNvPr id="0" name=""/>
        <dsp:cNvSpPr/>
      </dsp:nvSpPr>
      <dsp:spPr>
        <a:xfrm>
          <a:off x="3469911" y="1633"/>
          <a:ext cx="1496380" cy="1496380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96000"/>
                <a:satMod val="130000"/>
                <a:lumMod val="114000"/>
              </a:schemeClr>
            </a:gs>
            <a:gs pos="60000">
              <a:schemeClr val="accent2">
                <a:hueOff val="0"/>
                <a:satOff val="0"/>
                <a:lumOff val="0"/>
                <a:alphaOff val="0"/>
                <a:tint val="100000"/>
                <a:satMod val="106000"/>
                <a:lumMod val="11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</a:schemeClr>
            </a:gs>
          </a:gsLst>
          <a:lin ang="5400000" scaled="0"/>
        </a:gradFill>
        <a:ln>
          <a:noFill/>
        </a:ln>
        <a:effectLst>
          <a:outerShdw blurRad="47625" dist="38100" dir="5400000" sy="98000" rotWithShape="0">
            <a:srgbClr val="000000">
              <a:alpha val="4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hlinkClick xmlns:r="http://schemas.openxmlformats.org/officeDocument/2006/relationships" r:id="rId1" action="ppaction://hlinkfile"/>
            </a:rPr>
            <a:t>CUSTOMER USE CASE</a:t>
          </a:r>
          <a:endParaRPr lang="en-US" sz="2000" kern="1200" dirty="0"/>
        </a:p>
      </dsp:txBody>
      <dsp:txXfrm>
        <a:off x="3689051" y="220773"/>
        <a:ext cx="1058100" cy="1058100"/>
      </dsp:txXfrm>
    </dsp:sp>
    <dsp:sp modelId="{318B32BB-09E3-494A-854B-6C8B7F6E5576}">
      <dsp:nvSpPr>
        <dsp:cNvPr id="0" name=""/>
        <dsp:cNvSpPr/>
      </dsp:nvSpPr>
      <dsp:spPr>
        <a:xfrm>
          <a:off x="5619358" y="1575313"/>
          <a:ext cx="1496380" cy="1496380"/>
        </a:xfrm>
        <a:prstGeom prst="ellipse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96000"/>
                <a:satMod val="130000"/>
                <a:lumMod val="114000"/>
              </a:schemeClr>
            </a:gs>
            <a:gs pos="60000">
              <a:schemeClr val="accent3">
                <a:hueOff val="0"/>
                <a:satOff val="0"/>
                <a:lumOff val="0"/>
                <a:alphaOff val="0"/>
                <a:tint val="100000"/>
                <a:satMod val="106000"/>
                <a:lumMod val="11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</a:schemeClr>
            </a:gs>
          </a:gsLst>
          <a:lin ang="5400000" scaled="0"/>
        </a:gradFill>
        <a:ln>
          <a:noFill/>
        </a:ln>
        <a:effectLst>
          <a:outerShdw blurRad="47625" dist="38100" dir="5400000" sy="98000" rotWithShape="0">
            <a:srgbClr val="000000">
              <a:alpha val="4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>
              <a:hlinkClick xmlns:r="http://schemas.openxmlformats.org/officeDocument/2006/relationships" r:id="rId2" action="ppaction://hlinkfile"/>
            </a:rPr>
            <a:t>LAD LOGIN</a:t>
          </a:r>
          <a:endParaRPr lang="en-US" sz="1600" kern="1200" dirty="0"/>
        </a:p>
      </dsp:txBody>
      <dsp:txXfrm>
        <a:off x="5838498" y="1794453"/>
        <a:ext cx="1058100" cy="1058100"/>
      </dsp:txXfrm>
    </dsp:sp>
    <dsp:sp modelId="{E7E78A6F-27CF-4886-BF13-7E3978BF5CFC}">
      <dsp:nvSpPr>
        <dsp:cNvPr id="0" name=""/>
        <dsp:cNvSpPr/>
      </dsp:nvSpPr>
      <dsp:spPr>
        <a:xfrm>
          <a:off x="4802072" y="4101605"/>
          <a:ext cx="1496380" cy="1496380"/>
        </a:xfrm>
        <a:prstGeom prst="ellipse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96000"/>
                <a:satMod val="130000"/>
                <a:lumMod val="114000"/>
              </a:schemeClr>
            </a:gs>
            <a:gs pos="60000">
              <a:schemeClr val="accent4">
                <a:hueOff val="0"/>
                <a:satOff val="0"/>
                <a:lumOff val="0"/>
                <a:alphaOff val="0"/>
                <a:tint val="100000"/>
                <a:satMod val="106000"/>
                <a:lumMod val="11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</a:schemeClr>
            </a:gs>
          </a:gsLst>
          <a:lin ang="5400000" scaled="0"/>
        </a:gradFill>
        <a:ln>
          <a:noFill/>
        </a:ln>
        <a:effectLst>
          <a:outerShdw blurRad="47625" dist="38100" dir="5400000" sy="98000" rotWithShape="0">
            <a:srgbClr val="000000">
              <a:alpha val="4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>
              <a:hlinkClick xmlns:r="http://schemas.openxmlformats.org/officeDocument/2006/relationships" r:id="rId3" action="ppaction://hlinkfile"/>
            </a:rPr>
            <a:t>LAD FINAL APPROVAL</a:t>
          </a:r>
          <a:endParaRPr lang="en-US" sz="1600" kern="1200" dirty="0"/>
        </a:p>
      </dsp:txBody>
      <dsp:txXfrm>
        <a:off x="5021212" y="4320745"/>
        <a:ext cx="1058100" cy="1058100"/>
      </dsp:txXfrm>
    </dsp:sp>
    <dsp:sp modelId="{BA33F6DA-C642-4D2F-B6B8-AD2963AB8D97}">
      <dsp:nvSpPr>
        <dsp:cNvPr id="0" name=""/>
        <dsp:cNvSpPr/>
      </dsp:nvSpPr>
      <dsp:spPr>
        <a:xfrm>
          <a:off x="2137749" y="4101605"/>
          <a:ext cx="1496380" cy="1496380"/>
        </a:xfrm>
        <a:prstGeom prst="ellipse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96000"/>
                <a:satMod val="130000"/>
                <a:lumMod val="114000"/>
              </a:schemeClr>
            </a:gs>
            <a:gs pos="60000">
              <a:schemeClr val="accent5">
                <a:hueOff val="0"/>
                <a:satOff val="0"/>
                <a:lumOff val="0"/>
                <a:alphaOff val="0"/>
                <a:tint val="100000"/>
                <a:satMod val="106000"/>
                <a:lumMod val="11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</a:schemeClr>
            </a:gs>
          </a:gsLst>
          <a:lin ang="5400000" scaled="0"/>
        </a:gradFill>
        <a:ln>
          <a:noFill/>
        </a:ln>
        <a:effectLst>
          <a:outerShdw blurRad="47625" dist="38100" dir="5400000" sy="98000" rotWithShape="0">
            <a:srgbClr val="000000">
              <a:alpha val="4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hlinkClick xmlns:r="http://schemas.openxmlformats.org/officeDocument/2006/relationships" r:id="rId4" action="ppaction://hlinkfile"/>
            </a:rPr>
            <a:t>LAD INTERVIEW</a:t>
          </a:r>
          <a:endParaRPr lang="en-US" sz="1400" kern="1200" dirty="0"/>
        </a:p>
      </dsp:txBody>
      <dsp:txXfrm>
        <a:off x="2356889" y="4320745"/>
        <a:ext cx="1058100" cy="1058100"/>
      </dsp:txXfrm>
    </dsp:sp>
    <dsp:sp modelId="{4C713966-6261-4F78-9F60-804A6A8B81B1}">
      <dsp:nvSpPr>
        <dsp:cNvPr id="0" name=""/>
        <dsp:cNvSpPr/>
      </dsp:nvSpPr>
      <dsp:spPr>
        <a:xfrm>
          <a:off x="1245568" y="1494049"/>
          <a:ext cx="1658932" cy="1658917"/>
        </a:xfrm>
        <a:prstGeom prst="ellipse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96000"/>
                <a:satMod val="130000"/>
                <a:lumMod val="114000"/>
              </a:schemeClr>
            </a:gs>
            <a:gs pos="60000">
              <a:schemeClr val="accent6">
                <a:hueOff val="0"/>
                <a:satOff val="0"/>
                <a:lumOff val="0"/>
                <a:alphaOff val="0"/>
                <a:tint val="100000"/>
                <a:satMod val="106000"/>
                <a:lumMod val="11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</a:schemeClr>
            </a:gs>
          </a:gsLst>
          <a:lin ang="5400000" scaled="0"/>
        </a:gradFill>
        <a:ln>
          <a:noFill/>
        </a:ln>
        <a:effectLst>
          <a:outerShdw blurRad="47625" dist="38100" dir="5400000" sy="98000" rotWithShape="0">
            <a:srgbClr val="000000">
              <a:alpha val="4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>
              <a:hlinkClick xmlns:r="http://schemas.openxmlformats.org/officeDocument/2006/relationships" r:id="rId5" action="ppaction://hlinkfile"/>
            </a:rPr>
            <a:t>PROJECT ADMINISTRATOR</a:t>
          </a:r>
          <a:endParaRPr lang="en-US" sz="1100" kern="1200" dirty="0"/>
        </a:p>
      </dsp:txBody>
      <dsp:txXfrm>
        <a:off x="1488513" y="1736992"/>
        <a:ext cx="1173042" cy="117303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B681E9E-EECA-44FD-A0FA-6114585DB436}">
      <dsp:nvSpPr>
        <dsp:cNvPr id="0" name=""/>
        <dsp:cNvSpPr/>
      </dsp:nvSpPr>
      <dsp:spPr>
        <a:xfrm>
          <a:off x="0" y="543261"/>
          <a:ext cx="8229600" cy="856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7625" dist="38100" dir="5400000" sy="98000" rotWithShape="0">
            <a:srgbClr val="000000">
              <a:alpha val="48000"/>
            </a:srgbClr>
          </a:outerShdw>
        </a:effectLst>
        <a:scene3d>
          <a:camera prst="orthographicFront">
            <a:rot lat="0" lon="0" rev="0"/>
          </a:camera>
          <a:lightRig rig="twoPt" dir="br">
            <a:rot lat="0" lon="0" rev="8700000"/>
          </a:lightRig>
        </a:scene3d>
        <a:sp3d prstMaterial="matte">
          <a:bevelT w="25400" h="53975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FF2033B5-A7B4-42AC-A3CE-4C6CEF7F2617}">
      <dsp:nvSpPr>
        <dsp:cNvPr id="0" name=""/>
        <dsp:cNvSpPr/>
      </dsp:nvSpPr>
      <dsp:spPr>
        <a:xfrm>
          <a:off x="411480" y="41421"/>
          <a:ext cx="5760720" cy="1003680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96000"/>
                <a:satMod val="130000"/>
                <a:lumMod val="114000"/>
              </a:schemeClr>
            </a:gs>
            <a:gs pos="60000">
              <a:schemeClr val="accent2">
                <a:hueOff val="0"/>
                <a:satOff val="0"/>
                <a:lumOff val="0"/>
                <a:alphaOff val="0"/>
                <a:tint val="100000"/>
                <a:satMod val="106000"/>
                <a:lumMod val="11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</a:schemeClr>
            </a:gs>
          </a:gsLst>
          <a:lin ang="5400000" scaled="0"/>
        </a:gradFill>
        <a:ln>
          <a:noFill/>
        </a:ln>
        <a:effectLst>
          <a:reflection blurRad="12700" stA="24000" endPos="28000" dist="50800" dir="5400000" sy="-100000" rotWithShape="0"/>
        </a:effectLst>
        <a:scene3d>
          <a:camera prst="orthographicFront">
            <a:rot lat="0" lon="0" rev="0"/>
          </a:camera>
          <a:lightRig rig="threePt" dir="t">
            <a:rot lat="0" lon="0" rev="4800000"/>
          </a:lightRig>
        </a:scene3d>
        <a:sp3d>
          <a:bevelT w="69850" h="3175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17742" tIns="0" rIns="217742" bIns="0" numCol="1" spcCol="1270" anchor="ctr" anchorCtr="0">
          <a:noAutofit/>
        </a:bodyPr>
        <a:lstStyle/>
        <a:p>
          <a:pPr lvl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400" kern="1200" dirty="0" smtClean="0">
              <a:hlinkClick xmlns:r="http://schemas.openxmlformats.org/officeDocument/2006/relationships" r:id="rId1" action="ppaction://hlinkfile"/>
            </a:rPr>
            <a:t>CUSTOMER</a:t>
          </a:r>
          <a:endParaRPr lang="en-US" sz="3400" kern="1200" dirty="0"/>
        </a:p>
      </dsp:txBody>
      <dsp:txXfrm>
        <a:off x="460476" y="90417"/>
        <a:ext cx="5662728" cy="905688"/>
      </dsp:txXfrm>
    </dsp:sp>
    <dsp:sp modelId="{5183C994-EE0D-42DD-A9A9-881D31988BDB}">
      <dsp:nvSpPr>
        <dsp:cNvPr id="0" name=""/>
        <dsp:cNvSpPr/>
      </dsp:nvSpPr>
      <dsp:spPr>
        <a:xfrm>
          <a:off x="0" y="2085501"/>
          <a:ext cx="8229600" cy="856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7625" dist="38100" dir="5400000" sy="98000" rotWithShape="0">
            <a:srgbClr val="000000">
              <a:alpha val="48000"/>
            </a:srgbClr>
          </a:outerShdw>
        </a:effectLst>
        <a:scene3d>
          <a:camera prst="orthographicFront">
            <a:rot lat="0" lon="0" rev="0"/>
          </a:camera>
          <a:lightRig rig="twoPt" dir="br">
            <a:rot lat="0" lon="0" rev="8700000"/>
          </a:lightRig>
        </a:scene3d>
        <a:sp3d prstMaterial="matte">
          <a:bevelT w="25400" h="53975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2202675A-2A1E-46D2-8EE4-7509B3B7225C}">
      <dsp:nvSpPr>
        <dsp:cNvPr id="0" name=""/>
        <dsp:cNvSpPr/>
      </dsp:nvSpPr>
      <dsp:spPr>
        <a:xfrm>
          <a:off x="411480" y="1583661"/>
          <a:ext cx="5760720" cy="1003680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96000"/>
                <a:satMod val="130000"/>
                <a:lumMod val="114000"/>
              </a:schemeClr>
            </a:gs>
            <a:gs pos="60000">
              <a:schemeClr val="accent3">
                <a:hueOff val="0"/>
                <a:satOff val="0"/>
                <a:lumOff val="0"/>
                <a:alphaOff val="0"/>
                <a:tint val="100000"/>
                <a:satMod val="106000"/>
                <a:lumMod val="11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</a:schemeClr>
            </a:gs>
          </a:gsLst>
          <a:lin ang="5400000" scaled="0"/>
        </a:gradFill>
        <a:ln>
          <a:noFill/>
        </a:ln>
        <a:effectLst>
          <a:reflection blurRad="12700" stA="24000" endPos="28000" dist="50800" dir="5400000" sy="-100000" rotWithShape="0"/>
        </a:effectLst>
        <a:scene3d>
          <a:camera prst="orthographicFront">
            <a:rot lat="0" lon="0" rev="0"/>
          </a:camera>
          <a:lightRig rig="threePt" dir="t">
            <a:rot lat="0" lon="0" rev="4800000"/>
          </a:lightRig>
        </a:scene3d>
        <a:sp3d>
          <a:bevelT w="69850" h="3175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17742" tIns="0" rIns="217742" bIns="0" numCol="1" spcCol="1270" anchor="ctr" anchorCtr="0">
          <a:noAutofit/>
        </a:bodyPr>
        <a:lstStyle/>
        <a:p>
          <a:pPr lvl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400" kern="1200" dirty="0" smtClean="0">
              <a:hlinkClick xmlns:r="http://schemas.openxmlformats.org/officeDocument/2006/relationships" r:id="rId2" action="ppaction://hlinkfile"/>
            </a:rPr>
            <a:t>ADMIN</a:t>
          </a:r>
          <a:endParaRPr lang="en-US" sz="3400" kern="1200" dirty="0"/>
        </a:p>
      </dsp:txBody>
      <dsp:txXfrm>
        <a:off x="460476" y="1632657"/>
        <a:ext cx="5662728" cy="905688"/>
      </dsp:txXfrm>
    </dsp:sp>
    <dsp:sp modelId="{FFDBE3C7-A731-49E2-9BB3-9A2CE6EB7AF3}">
      <dsp:nvSpPr>
        <dsp:cNvPr id="0" name=""/>
        <dsp:cNvSpPr/>
      </dsp:nvSpPr>
      <dsp:spPr>
        <a:xfrm>
          <a:off x="0" y="3627741"/>
          <a:ext cx="8229600" cy="856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7625" dist="38100" dir="5400000" sy="98000" rotWithShape="0">
            <a:srgbClr val="000000">
              <a:alpha val="48000"/>
            </a:srgbClr>
          </a:outerShdw>
        </a:effectLst>
        <a:scene3d>
          <a:camera prst="orthographicFront">
            <a:rot lat="0" lon="0" rev="0"/>
          </a:camera>
          <a:lightRig rig="twoPt" dir="br">
            <a:rot lat="0" lon="0" rev="8700000"/>
          </a:lightRig>
        </a:scene3d>
        <a:sp3d prstMaterial="matte">
          <a:bevelT w="25400" h="53975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73FBA1EF-193B-41EC-AB45-9CE67BEE6875}">
      <dsp:nvSpPr>
        <dsp:cNvPr id="0" name=""/>
        <dsp:cNvSpPr/>
      </dsp:nvSpPr>
      <dsp:spPr>
        <a:xfrm>
          <a:off x="411480" y="3125901"/>
          <a:ext cx="5760720" cy="1003680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96000"/>
                <a:satMod val="130000"/>
                <a:lumMod val="114000"/>
              </a:schemeClr>
            </a:gs>
            <a:gs pos="60000">
              <a:schemeClr val="accent4">
                <a:hueOff val="0"/>
                <a:satOff val="0"/>
                <a:lumOff val="0"/>
                <a:alphaOff val="0"/>
                <a:tint val="100000"/>
                <a:satMod val="106000"/>
                <a:lumMod val="11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</a:schemeClr>
            </a:gs>
          </a:gsLst>
          <a:lin ang="5400000" scaled="0"/>
        </a:gradFill>
        <a:ln>
          <a:noFill/>
        </a:ln>
        <a:effectLst>
          <a:reflection blurRad="12700" stA="24000" endPos="28000" dist="50800" dir="5400000" sy="-100000" rotWithShape="0"/>
        </a:effectLst>
        <a:scene3d>
          <a:camera prst="orthographicFront">
            <a:rot lat="0" lon="0" rev="0"/>
          </a:camera>
          <a:lightRig rig="threePt" dir="t">
            <a:rot lat="0" lon="0" rev="4800000"/>
          </a:lightRig>
        </a:scene3d>
        <a:sp3d>
          <a:bevelT w="69850" h="3175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17742" tIns="0" rIns="217742" bIns="0" numCol="1" spcCol="1270" anchor="ctr" anchorCtr="0">
          <a:noAutofit/>
        </a:bodyPr>
        <a:lstStyle/>
        <a:p>
          <a:pPr lvl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400" kern="1200" dirty="0" smtClean="0">
              <a:hlinkClick xmlns:r="http://schemas.openxmlformats.org/officeDocument/2006/relationships" r:id="rId3" action="ppaction://hlinkfile"/>
            </a:rPr>
            <a:t>LAD</a:t>
          </a:r>
          <a:endParaRPr lang="en-US" sz="3400" kern="1200" dirty="0"/>
        </a:p>
      </dsp:txBody>
      <dsp:txXfrm>
        <a:off x="460476" y="3174897"/>
        <a:ext cx="5662728" cy="90568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81C681D-D68E-4F43-867A-101F72BEE7D6}">
      <dsp:nvSpPr>
        <dsp:cNvPr id="0" name=""/>
        <dsp:cNvSpPr/>
      </dsp:nvSpPr>
      <dsp:spPr>
        <a:xfrm>
          <a:off x="445844" y="1315743"/>
          <a:ext cx="7947511" cy="72250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0" tIns="152400" rIns="152400" bIns="152400" numCol="1" spcCol="1270" anchor="b" anchorCtr="0">
          <a:noAutofit/>
        </a:bodyPr>
        <a:lstStyle/>
        <a:p>
          <a:pPr lvl="0" algn="l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4000" b="0" i="0" kern="1200" dirty="0" smtClean="0">
              <a:hlinkClick xmlns:r="http://schemas.openxmlformats.org/officeDocument/2006/relationships" r:id="rId1"/>
            </a:rPr>
            <a:t>http://ndafile:8081/OnlineBankingProjectSpring/</a:t>
          </a:r>
          <a:endParaRPr lang="en-US" sz="4000" kern="1200" dirty="0"/>
        </a:p>
      </dsp:txBody>
      <dsp:txXfrm>
        <a:off x="445844" y="1315743"/>
        <a:ext cx="7947511" cy="722501"/>
      </dsp:txXfrm>
    </dsp:sp>
    <dsp:sp modelId="{4BFEA904-836C-4A4A-B14D-AC1CBB6F1C55}">
      <dsp:nvSpPr>
        <dsp:cNvPr id="0" name=""/>
        <dsp:cNvSpPr/>
      </dsp:nvSpPr>
      <dsp:spPr>
        <a:xfrm>
          <a:off x="445844" y="2038244"/>
          <a:ext cx="1059668" cy="176611"/>
        </a:xfrm>
        <a:prstGeom prst="parallelogram">
          <a:avLst>
            <a:gd name="adj" fmla="val 14084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C993937-3AA9-4959-B97F-BBD4A0536D62}">
      <dsp:nvSpPr>
        <dsp:cNvPr id="0" name=""/>
        <dsp:cNvSpPr/>
      </dsp:nvSpPr>
      <dsp:spPr>
        <a:xfrm>
          <a:off x="1567326" y="2038244"/>
          <a:ext cx="1059668" cy="176611"/>
        </a:xfrm>
        <a:prstGeom prst="parallelogram">
          <a:avLst>
            <a:gd name="adj" fmla="val 14084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7E72F2F-8562-4787-97B4-163834526F8D}">
      <dsp:nvSpPr>
        <dsp:cNvPr id="0" name=""/>
        <dsp:cNvSpPr/>
      </dsp:nvSpPr>
      <dsp:spPr>
        <a:xfrm>
          <a:off x="2688808" y="2038244"/>
          <a:ext cx="1059668" cy="176611"/>
        </a:xfrm>
        <a:prstGeom prst="parallelogram">
          <a:avLst>
            <a:gd name="adj" fmla="val 14084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0780307-5D19-4F19-9D20-48B2B69AFE8A}">
      <dsp:nvSpPr>
        <dsp:cNvPr id="0" name=""/>
        <dsp:cNvSpPr/>
      </dsp:nvSpPr>
      <dsp:spPr>
        <a:xfrm>
          <a:off x="3810290" y="2038244"/>
          <a:ext cx="1059668" cy="176611"/>
        </a:xfrm>
        <a:prstGeom prst="parallelogram">
          <a:avLst>
            <a:gd name="adj" fmla="val 14084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DFD1517-513B-48DA-83D7-3B2790AD7EE0}">
      <dsp:nvSpPr>
        <dsp:cNvPr id="0" name=""/>
        <dsp:cNvSpPr/>
      </dsp:nvSpPr>
      <dsp:spPr>
        <a:xfrm>
          <a:off x="4931772" y="2038244"/>
          <a:ext cx="1059668" cy="176611"/>
        </a:xfrm>
        <a:prstGeom prst="parallelogram">
          <a:avLst>
            <a:gd name="adj" fmla="val 14084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A77B84D-27C8-4095-8FF3-5467799617D3}">
      <dsp:nvSpPr>
        <dsp:cNvPr id="0" name=""/>
        <dsp:cNvSpPr/>
      </dsp:nvSpPr>
      <dsp:spPr>
        <a:xfrm>
          <a:off x="6053255" y="2038244"/>
          <a:ext cx="1059668" cy="176611"/>
        </a:xfrm>
        <a:prstGeom prst="parallelogram">
          <a:avLst>
            <a:gd name="adj" fmla="val 14084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0387341-DE6D-4063-87EC-04622A28F708}">
      <dsp:nvSpPr>
        <dsp:cNvPr id="0" name=""/>
        <dsp:cNvSpPr/>
      </dsp:nvSpPr>
      <dsp:spPr>
        <a:xfrm>
          <a:off x="7174737" y="2038244"/>
          <a:ext cx="1059668" cy="176611"/>
        </a:xfrm>
        <a:prstGeom prst="parallelogram">
          <a:avLst>
            <a:gd name="adj" fmla="val 14084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VerticalAccentList">
  <dgm:title val=""/>
  <dgm:desc val=""/>
  <dgm:catLst>
    <dgm:cat type="list" pri="16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/>
      <dgm:chPref/>
      <dgm:dir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text" refType="primFontSz" refFor="des" refForName="childtext" op="gte"/>
      <dgm:constr type="w" for="ch" forName="composite" refType="w"/>
      <dgm:constr type="h" for="ch" forName="composite" refType="h"/>
      <dgm:constr type="w" for="ch" forName="parallelogramComposite" refType="w"/>
      <dgm:constr type="h" for="ch" forName="parallelogramComposite" refType="h"/>
      <dgm:constr type="w" for="ch" forName="parenttextcomposite" refType="w" fact="0.9"/>
      <dgm:constr type="h" for="ch" forName="parenttextcomposite" refType="h" fact="0.6"/>
      <dgm:constr type="h" for="ch" forName="sibTrans" refType="h" refFor="ch" refForName="composite" op="equ" fact="0.02"/>
      <dgm:constr type="h" for="ch" forName="sibTrans" op="equ"/>
    </dgm:constrLst>
    <dgm:forEach name="nodesForEach" axis="ch" ptType="node">
      <dgm:layoutNode name="parenttextcomposite">
        <dgm:alg type="composite">
          <dgm:param type="ar" val="11"/>
        </dgm:alg>
        <dgm:shape xmlns:r="http://schemas.openxmlformats.org/officeDocument/2006/relationships" r:blip="">
          <dgm:adjLst/>
        </dgm:shape>
        <dgm:constrLst>
          <dgm:constr type="h" for="ch" forName="parenttext" refType="h"/>
          <dgm:constr type="w" for="ch" forName="parenttext" refType="w"/>
        </dgm:constrLst>
        <dgm:layoutNode name="parenttext" styleLbl="revTx">
          <dgm:varLst>
            <dgm:chMax/>
            <dgm:chPref val="2"/>
            <dgm:bulletEnabled val="1"/>
          </dgm:varLst>
          <dgm:choose name="Name4">
            <dgm:if name="Name5" func="var" arg="dir" op="equ" val="norm">
              <dgm:alg type="tx">
                <dgm:param type="parTxLTRAlign" val="l"/>
                <dgm:param type="txAnchorVert" val="b"/>
              </dgm:alg>
            </dgm:if>
            <dgm:else name="Name6">
              <dgm:alg type="tx">
                <dgm:param type="parTxLTRAlign" val="r"/>
                <dgm:param type="txAnchorVert" val="b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choose name="Name7">
        <dgm:if name="Name8" axis="ch" ptType="node" func="cnt" op="gte" val="1">
          <dgm:layoutNode name="composite">
            <dgm:alg type="composite">
              <dgm:param type="ar" val="6"/>
            </dgm:alg>
            <dgm:shape xmlns:r="http://schemas.openxmlformats.org/officeDocument/2006/relationships" r:blip="">
              <dgm:adjLst/>
            </dgm:shape>
            <dgm:choose name="Name9">
              <dgm:if name="Name10" func="var" arg="dir" op="equ" val="norm">
                <dgm:constrLst>
                  <dgm:constr type="l" for="ch" forName="chevron1" refType="w" fact="0.0301"/>
                  <dgm:constr type="t" for="ch" forName="chevron1" refType="h" fact="0"/>
                  <dgm:constr type="w" for="ch" forName="chevron1" refType="w" fact="0.2106"/>
                  <dgm:constr type="h" for="ch" forName="chevron1" refType="h"/>
                  <dgm:constr type="l" for="ch" forName="chevron2" refType="w" fact="0.1566"/>
                  <dgm:constr type="t" for="ch" forName="chevron2" refType="h" fact="0"/>
                  <dgm:constr type="w" for="ch" forName="chevron2" refType="w" fact="0.2106"/>
                  <dgm:constr type="h" for="ch" forName="chevron2" refType="h"/>
                  <dgm:constr type="l" for="ch" forName="chevron3" refType="w" fact="0.2832"/>
                  <dgm:constr type="t" for="ch" forName="chevron3" refType="h" fact="0"/>
                  <dgm:constr type="w" for="ch" forName="chevron3" refType="w" fact="0.2106"/>
                  <dgm:constr type="h" for="ch" forName="chevron3" refType="h"/>
                  <dgm:constr type="l" for="ch" forName="chevron4" refType="w" fact="0.4097"/>
                  <dgm:constr type="t" for="ch" forName="chevron4" refType="h" fact="0"/>
                  <dgm:constr type="w" for="ch" forName="chevron4" refType="w" fact="0.2106"/>
                  <dgm:constr type="h" for="ch" forName="chevron4" refType="h"/>
                  <dgm:constr type="l" for="ch" forName="chevron5" refType="w" fact="0.5363"/>
                  <dgm:constr type="t" for="ch" forName="chevron5" refType="h" fact="0"/>
                  <dgm:constr type="w" for="ch" forName="chevron5" refType="w" fact="0.2106"/>
                  <dgm:constr type="h" for="ch" forName="chevron5" refType="h"/>
                  <dgm:constr type="l" for="ch" forName="chevron6" refType="w" fact="0.6628"/>
                  <dgm:constr type="t" for="ch" forName="chevron6" refType="h" fact="0"/>
                  <dgm:constr type="w" for="ch" forName="chevron6" refType="w" fact="0.2106"/>
                  <dgm:constr type="h" for="ch" forName="chevron6" refType="h"/>
                  <dgm:constr type="l" for="ch" forName="chevron7" refType="w" fact="0.7894"/>
                  <dgm:constr type="t" for="ch" forName="chevron7" refType="h" fact="0"/>
                  <dgm:constr type="w" for="ch" forName="chevron7" refType="w" fact="0.2106"/>
                  <dgm:constr type="h" for="ch" forName="chevron7" refType="h"/>
                  <dgm:constr type="l" for="ch" forName="childtext" refType="w" fact="0.0301"/>
                  <dgm:constr type="t" for="ch" forName="childtext" refType="h" fact="0.1"/>
                  <dgm:constr type="w" for="ch" forName="childtext" refType="w" fact="0.9117"/>
                  <dgm:constr type="h" for="ch" forName="childtext" refType="h" fact="0.8"/>
                </dgm:constrLst>
              </dgm:if>
              <dgm:else name="Name11">
                <dgm:constrLst>
                  <dgm:constr type="l" for="ch" forName="chevron1" refType="w" fact="0.0301"/>
                  <dgm:constr type="t" for="ch" forName="chevron1" refType="h" fact="0"/>
                  <dgm:constr type="w" for="ch" forName="chevron1" refType="w" fact="0.2106"/>
                  <dgm:constr type="h" for="ch" forName="chevron1" refType="h"/>
                  <dgm:constr type="l" for="ch" forName="chevron2" refType="w" fact="0.1566"/>
                  <dgm:constr type="t" for="ch" forName="chevron2" refType="h" fact="0"/>
                  <dgm:constr type="w" for="ch" forName="chevron2" refType="w" fact="0.2106"/>
                  <dgm:constr type="h" for="ch" forName="chevron2" refType="h"/>
                  <dgm:constr type="l" for="ch" forName="chevron3" refType="w" fact="0.2832"/>
                  <dgm:constr type="t" for="ch" forName="chevron3" refType="h" fact="0"/>
                  <dgm:constr type="w" for="ch" forName="chevron3" refType="w" fact="0.2106"/>
                  <dgm:constr type="h" for="ch" forName="chevron3" refType="h"/>
                  <dgm:constr type="l" for="ch" forName="chevron4" refType="w" fact="0.4097"/>
                  <dgm:constr type="t" for="ch" forName="chevron4" refType="h" fact="0"/>
                  <dgm:constr type="w" for="ch" forName="chevron4" refType="w" fact="0.2106"/>
                  <dgm:constr type="h" for="ch" forName="chevron4" refType="h"/>
                  <dgm:constr type="l" for="ch" forName="chevron5" refType="w" fact="0.5363"/>
                  <dgm:constr type="t" for="ch" forName="chevron5" refType="h" fact="0"/>
                  <dgm:constr type="w" for="ch" forName="chevron5" refType="w" fact="0.2106"/>
                  <dgm:constr type="h" for="ch" forName="chevron5" refType="h"/>
                  <dgm:constr type="l" for="ch" forName="chevron6" refType="w" fact="0.6628"/>
                  <dgm:constr type="t" for="ch" forName="chevron6" refType="h" fact="0"/>
                  <dgm:constr type="w" for="ch" forName="chevron6" refType="w" fact="0.2106"/>
                  <dgm:constr type="h" for="ch" forName="chevron6" refType="h"/>
                  <dgm:constr type="l" for="ch" forName="chevron7" refType="w" fact="0.7894"/>
                  <dgm:constr type="t" for="ch" forName="chevron7" refType="h" fact="0"/>
                  <dgm:constr type="w" for="ch" forName="chevron7" refType="w" fact="0.2106"/>
                  <dgm:constr type="h" for="ch" forName="chevron7" refType="h"/>
                  <dgm:constr type="l" for="ch" forName="childtext" refType="w" fact="0.0883"/>
                  <dgm:constr type="t" for="ch" forName="childtext" refType="h" fact="0.1"/>
                  <dgm:constr type="w" for="ch" forName="childtext" refType="w" fact="0.9117"/>
                  <dgm:constr type="h" for="ch" forName="childtext" refType="h" fact="0.8"/>
                </dgm:constrLst>
              </dgm:else>
            </dgm:choose>
            <dgm:ruleLst/>
            <dgm:layoutNode name="chevron1" styleLbl="alignNode1">
              <dgm:alg type="sp"/>
              <dgm:choose name="Name12">
                <dgm:if name="Name13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14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2" styleLbl="alignNode1">
              <dgm:alg type="sp"/>
              <dgm:choose name="Name15">
                <dgm:if name="Name16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17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3" styleLbl="alignNode1">
              <dgm:alg type="sp"/>
              <dgm:choose name="Name18">
                <dgm:if name="Name19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0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4" styleLbl="alignNode1">
              <dgm:alg type="sp"/>
              <dgm:choose name="Name21">
                <dgm:if name="Name22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3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5" styleLbl="alignNode1">
              <dgm:alg type="sp"/>
              <dgm:choose name="Name24">
                <dgm:if name="Name25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6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6" styleLbl="alignNode1">
              <dgm:alg type="sp"/>
              <dgm:choose name="Name27">
                <dgm:if name="Name28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9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7" styleLbl="alignNode1">
              <dgm:alg type="sp"/>
              <dgm:choose name="Name30">
                <dgm:if name="Name31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32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ildtext" styleLbl="solidFgAcc1">
              <dgm:varLst>
                <dgm:chMax/>
                <dgm:chPref val="0"/>
                <dgm:bulletEnabled val="1"/>
              </dgm:varLst>
              <dgm:choose name="Name33">
                <dgm:if name="Name34" func="var" arg="dir" op="equ" val="norm">
                  <dgm:alg type="tx">
                    <dgm:param type="parTxLTRAlign" val="l"/>
                    <dgm:param type="txAnchorVertCh" val="t"/>
                  </dgm:alg>
                </dgm:if>
                <dgm:else name="Name35">
                  <dgm:alg type="tx">
                    <dgm:param type="parTxLTRAlign" val="r"/>
                    <dgm:param type="shpTxLTRAlignCh" val="r"/>
                    <dgm:param type="txAnchorVertCh" val="t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2"/>
                <dgm:constr type="rMarg" refType="primFontSz" fact="0.2"/>
                <dgm:constr type="tMarg" refType="primFontSz" fact="0.2"/>
                <dgm:constr type="bMarg" refType="primFontSz" fact="0.2"/>
              </dgm:constrLst>
              <dgm:ruleLst>
                <dgm:rule type="primFontSz" val="5" fact="NaN" max="NaN"/>
              </dgm:ruleLst>
            </dgm:layoutNode>
          </dgm:layoutNode>
        </dgm:if>
        <dgm:else name="Name36">
          <dgm:layoutNode name="parallelogramComposite">
            <dgm:alg type="composite">
              <dgm:param type="ar" val="50"/>
            </dgm:alg>
            <dgm:shape xmlns:r="http://schemas.openxmlformats.org/officeDocument/2006/relationships" r:blip="">
              <dgm:adjLst/>
            </dgm:shape>
            <dgm:constrLst>
              <dgm:constr type="l" for="ch" forName="parallelogram1" refType="w" fact="0"/>
              <dgm:constr type="t" for="ch" forName="parallelogram1" refType="h" fact="0"/>
              <dgm:constr type="w" for="ch" forName="parallelogram1" refType="w" fact="0.12"/>
              <dgm:constr type="h" for="ch" forName="parallelogram1" refType="h"/>
              <dgm:constr type="l" for="ch" forName="parallelogram2" refType="w" fact="0.127"/>
              <dgm:constr type="t" for="ch" forName="parallelogram2" refType="h" fact="0"/>
              <dgm:constr type="w" for="ch" forName="parallelogram2" refType="w" fact="0.12"/>
              <dgm:constr type="h" for="ch" forName="parallelogram2" refType="h"/>
              <dgm:constr type="l" for="ch" forName="parallelogram3" refType="w" fact="0.254"/>
              <dgm:constr type="t" for="ch" forName="parallelogram3" refType="h" fact="0"/>
              <dgm:constr type="w" for="ch" forName="parallelogram3" refType="w" fact="0.12"/>
              <dgm:constr type="h" for="ch" forName="parallelogram3" refType="h"/>
              <dgm:constr type="l" for="ch" forName="parallelogram4" refType="w" fact="0.381"/>
              <dgm:constr type="t" for="ch" forName="parallelogram4" refType="h" fact="0"/>
              <dgm:constr type="w" for="ch" forName="parallelogram4" refType="w" fact="0.12"/>
              <dgm:constr type="h" for="ch" forName="parallelogram4" refType="h"/>
              <dgm:constr type="l" for="ch" forName="parallelogram5" refType="w" fact="0.508"/>
              <dgm:constr type="t" for="ch" forName="parallelogram5" refType="h" fact="0"/>
              <dgm:constr type="w" for="ch" forName="parallelogram5" refType="w" fact="0.12"/>
              <dgm:constr type="h" for="ch" forName="parallelogram5" refType="h"/>
              <dgm:constr type="l" for="ch" forName="parallelogram6" refType="w" fact="0.635"/>
              <dgm:constr type="t" for="ch" forName="parallelogram6" refType="h" fact="0"/>
              <dgm:constr type="w" for="ch" forName="parallelogram6" refType="w" fact="0.12"/>
              <dgm:constr type="h" for="ch" forName="parallelogram6" refType="h"/>
              <dgm:constr type="l" for="ch" forName="parallelogram7" refType="w" fact="0.762"/>
              <dgm:constr type="t" for="ch" forName="parallelogram7" refType="h" fact="0"/>
              <dgm:constr type="w" for="ch" forName="parallelogram7" refType="w" fact="0.12"/>
              <dgm:constr type="h" for="ch" forName="parallelogram7" refType="h"/>
            </dgm:constrLst>
            <dgm:ruleLst/>
            <dgm:layoutNode name="parallelogram1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2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3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4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5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6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7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</dgm:layoutNode>
        </dgm:else>
      </dgm:choos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1/29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94222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02939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1/29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1/2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1/2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1/2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1/2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1/2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1/2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1/2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1/2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1/2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1/2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1/2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1/2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1/2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1/2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1/2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1/29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1/29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1/29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1/29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1/29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1/29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1/2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January 29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jp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Relationship Id="rId9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Relationship Id="rId9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4" Type="http://schemas.openxmlformats.org/officeDocument/2006/relationships/hyperlink" Target="../LOAN%20APPLICATION/RVFD/RVFD.xls" TargetMode="Externa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-31376" y="-443205"/>
            <a:ext cx="9144000" cy="730120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505200" y="6096001"/>
            <a:ext cx="1600200" cy="365125"/>
          </a:xfrm>
        </p:spPr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443205"/>
            <a:ext cx="9112624" cy="730120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1346" y="6080918"/>
            <a:ext cx="3023105" cy="700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327212" y="76200"/>
            <a:ext cx="845820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dirty="0" smtClean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LOAN APPLICATION PROCESSING SYSTEM</a:t>
            </a:r>
            <a:endParaRPr lang="en-US" sz="6000" b="1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799" y="6334918"/>
            <a:ext cx="3060459" cy="249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400" b="1" dirty="0"/>
              <a:t>Defects Found…</a:t>
            </a:r>
            <a:endParaRPr lang="en-US" sz="4400" dirty="0">
              <a:latin typeface="Algerian" panose="04020705040A02060702" pitchFamily="82" charset="0"/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1133163"/>
              </p:ext>
            </p:extLst>
          </p:nvPr>
        </p:nvGraphicFramePr>
        <p:xfrm>
          <a:off x="457200" y="1600200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8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58958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DBE3C7-A731-49E2-9BB3-9A2CE6EB7AF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DBE3C7-A731-49E2-9BB3-9A2CE6EB7AF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DBE3C7-A731-49E2-9BB3-9A2CE6EB7AF3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DBE3C7-A731-49E2-9BB3-9A2CE6EB7AF3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DBE3C7-A731-49E2-9BB3-9A2CE6EB7AF3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DBE3C7-A731-49E2-9BB3-9A2CE6EB7AF3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DBE3C7-A731-49E2-9BB3-9A2CE6EB7AF3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DBE3C7-A731-49E2-9BB3-9A2CE6EB7AF3}"/>
                                            </p:graphic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DBE3C7-A731-49E2-9BB3-9A2CE6EB7AF3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DBE3C7-A731-49E2-9BB3-9A2CE6EB7AF3}"/>
                                            </p:graphic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DBE3C7-A731-49E2-9BB3-9A2CE6EB7AF3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DBE3C7-A731-49E2-9BB3-9A2CE6EB7AF3}"/>
                                            </p:graphic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DBE3C7-A731-49E2-9BB3-9A2CE6EB7AF3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DBE3C7-A731-49E2-9BB3-9A2CE6EB7AF3}"/>
                                            </p:graphic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DBE3C7-A731-49E2-9BB3-9A2CE6EB7AF3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73FBA1EF-193B-41EC-AB45-9CE67BEE687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73FBA1EF-193B-41EC-AB45-9CE67BEE687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73FBA1EF-193B-41EC-AB45-9CE67BEE6875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73FBA1EF-193B-41EC-AB45-9CE67BEE6875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73FBA1EF-193B-41EC-AB45-9CE67BEE6875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73FBA1EF-193B-41EC-AB45-9CE67BEE6875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73FBA1EF-193B-41EC-AB45-9CE67BEE6875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9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73FBA1EF-193B-41EC-AB45-9CE67BEE6875}"/>
                                            </p:graphic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0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73FBA1EF-193B-41EC-AB45-9CE67BEE6875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73FBA1EF-193B-41EC-AB45-9CE67BEE6875}"/>
                                            </p:graphic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2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73FBA1EF-193B-41EC-AB45-9CE67BEE6875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73FBA1EF-193B-41EC-AB45-9CE67BEE6875}"/>
                                            </p:graphic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4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73FBA1EF-193B-41EC-AB45-9CE67BEE6875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73FBA1EF-193B-41EC-AB45-9CE67BEE6875}"/>
                                            </p:graphic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6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73FBA1EF-193B-41EC-AB45-9CE67BEE6875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5183C994-EE0D-42DD-A9A9-881D31988BD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5183C994-EE0D-42DD-A9A9-881D31988BD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5183C994-EE0D-42DD-A9A9-881D31988BDB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5183C994-EE0D-42DD-A9A9-881D31988BDB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5183C994-EE0D-42DD-A9A9-881D31988BDB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5183C994-EE0D-42DD-A9A9-881D31988BDB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5183C994-EE0D-42DD-A9A9-881D31988BDB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5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5183C994-EE0D-42DD-A9A9-881D31988BDB}"/>
                                            </p:graphic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6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5183C994-EE0D-42DD-A9A9-881D31988BDB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7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5183C994-EE0D-42DD-A9A9-881D31988BDB}"/>
                                            </p:graphic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8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5183C994-EE0D-42DD-A9A9-881D31988BDB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9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5183C994-EE0D-42DD-A9A9-881D31988BDB}"/>
                                            </p:graphic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0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5183C994-EE0D-42DD-A9A9-881D31988BDB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1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5183C994-EE0D-42DD-A9A9-881D31988BDB}"/>
                                            </p:graphic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2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5183C994-EE0D-42DD-A9A9-881D31988BDB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5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202675A-2A1E-46D2-8EE4-7509B3B7225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202675A-2A1E-46D2-8EE4-7509B3B7225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202675A-2A1E-46D2-8EE4-7509B3B7225C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202675A-2A1E-46D2-8EE4-7509B3B7225C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202675A-2A1E-46D2-8EE4-7509B3B7225C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202675A-2A1E-46D2-8EE4-7509B3B7225C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202675A-2A1E-46D2-8EE4-7509B3B7225C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1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202675A-2A1E-46D2-8EE4-7509B3B7225C}"/>
                                            </p:graphic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62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202675A-2A1E-46D2-8EE4-7509B3B7225C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3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202675A-2A1E-46D2-8EE4-7509B3B7225C}"/>
                                            </p:graphic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64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202675A-2A1E-46D2-8EE4-7509B3B7225C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5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202675A-2A1E-46D2-8EE4-7509B3B7225C}"/>
                                            </p:graphic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6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202675A-2A1E-46D2-8EE4-7509B3B7225C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7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202675A-2A1E-46D2-8EE4-7509B3B7225C}"/>
                                            </p:graphic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8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202675A-2A1E-46D2-8EE4-7509B3B7225C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3B681E9E-EECA-44FD-A0FA-6114585DB43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3B681E9E-EECA-44FD-A0FA-6114585DB43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3B681E9E-EECA-44FD-A0FA-6114585DB436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3B681E9E-EECA-44FD-A0FA-6114585DB436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3B681E9E-EECA-44FD-A0FA-6114585DB436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3B681E9E-EECA-44FD-A0FA-6114585DB436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3B681E9E-EECA-44FD-A0FA-6114585DB436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7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3B681E9E-EECA-44FD-A0FA-6114585DB436}"/>
                                            </p:graphic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8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3B681E9E-EECA-44FD-A0FA-6114585DB436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9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3B681E9E-EECA-44FD-A0FA-6114585DB436}"/>
                                            </p:graphic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0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3B681E9E-EECA-44FD-A0FA-6114585DB436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1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3B681E9E-EECA-44FD-A0FA-6114585DB436}"/>
                                            </p:graphic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2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3B681E9E-EECA-44FD-A0FA-6114585DB436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3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3B681E9E-EECA-44FD-A0FA-6114585DB436}"/>
                                            </p:graphic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4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3B681E9E-EECA-44FD-A0FA-6114585DB436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8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2033B5-A7B4-42AC-A3CE-4C6CEF7F261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2033B5-A7B4-42AC-A3CE-4C6CEF7F261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2033B5-A7B4-42AC-A3CE-4C6CEF7F2617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2033B5-A7B4-42AC-A3CE-4C6CEF7F2617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2033B5-A7B4-42AC-A3CE-4C6CEF7F2617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2033B5-A7B4-42AC-A3CE-4C6CEF7F2617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2033B5-A7B4-42AC-A3CE-4C6CEF7F2617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9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2033B5-A7B4-42AC-A3CE-4C6CEF7F2617}"/>
                                            </p:graphic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9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2033B5-A7B4-42AC-A3CE-4C6CEF7F2617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2033B5-A7B4-42AC-A3CE-4C6CEF7F2617}"/>
                                            </p:graphic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9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2033B5-A7B4-42AC-A3CE-4C6CEF7F2617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2033B5-A7B4-42AC-A3CE-4C6CEF7F2617}"/>
                                            </p:graphic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9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2033B5-A7B4-42AC-A3CE-4C6CEF7F2617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2033B5-A7B4-42AC-A3CE-4C6CEF7F2617}"/>
                                            </p:graphic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0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2033B5-A7B4-42AC-A3CE-4C6CEF7F2617}"/>
                                            </p:graphic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Sub>
          <a:bldDgm rev="1"/>
        </p:bldSub>
      </p:bldGraphic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1</a:t>
            </a:fld>
            <a:endParaRPr lang="en-US" dirty="0"/>
          </a:p>
        </p:txBody>
      </p:sp>
      <p:sp>
        <p:nvSpPr>
          <p:cNvPr id="11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197323289"/>
              </p:ext>
            </p:extLst>
          </p:nvPr>
        </p:nvGraphicFramePr>
        <p:xfrm>
          <a:off x="152400" y="1905000"/>
          <a:ext cx="8839200" cy="3530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Rectangle 5"/>
          <p:cNvSpPr/>
          <p:nvPr/>
        </p:nvSpPr>
        <p:spPr>
          <a:xfrm>
            <a:off x="304800" y="228600"/>
            <a:ext cx="8229600" cy="4572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3200" b="1" dirty="0" smtClean="0">
                <a:latin typeface="Candara" panose="020E0502030303020204" pitchFamily="34" charset="0"/>
                <a:cs typeface="Times New Roman" panose="02020603050405020304" pitchFamily="18" charset="0"/>
              </a:rPr>
              <a:t>Application link</a:t>
            </a:r>
            <a:endParaRPr lang="en-IN" sz="3200" b="1" dirty="0">
              <a:latin typeface="Candara" panose="020E0502030303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25443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" grpId="0">
        <p:bldAsOne/>
      </p:bldGraphic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8229600" cy="10207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Algerian" panose="04020705040A02060702" pitchFamily="82" charset="0"/>
                <a:cs typeface="Times New Roman" pitchFamily="18" charset="0"/>
              </a:rPr>
              <a:t>Test Case Adequacy :</a:t>
            </a:r>
            <a:endParaRPr lang="en-US" sz="3600" b="1" dirty="0">
              <a:latin typeface="Algerian" panose="04020705040A02060702" pitchFamily="82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7065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-13855"/>
            <a:ext cx="7772400" cy="1066800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latin typeface="Algerian" panose="04020705040A02060702" pitchFamily="82" charset="0"/>
                <a:cs typeface="Times New Roman" pitchFamily="18" charset="0"/>
              </a:rPr>
              <a:t>Test Case Effectiveness:</a:t>
            </a:r>
            <a:endParaRPr lang="en-US" sz="3600" b="1" dirty="0">
              <a:latin typeface="Algerian" panose="04020705040A02060702" pitchFamily="82" charset="0"/>
              <a:cs typeface="Times New Roman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1828800"/>
            <a:ext cx="8001000" cy="4419600"/>
          </a:xfrm>
        </p:spPr>
        <p:txBody>
          <a:bodyPr>
            <a:normAutofit/>
          </a:bodyPr>
          <a:lstStyle/>
          <a:p>
            <a:pPr algn="l"/>
            <a:endParaRPr lang="en-US" sz="2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2469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>
                <a:solidFill>
                  <a:srgbClr val="002060"/>
                </a:solidFill>
              </a:rPr>
              <a:t>Traceability Matrix</a:t>
            </a:r>
            <a:endParaRPr lang="en-US" b="1" dirty="0">
              <a:latin typeface="Algerian" panose="04020705040A02060702" pitchFamily="8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1143000"/>
            <a:ext cx="8424698" cy="46482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589655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>
                <a:solidFill>
                  <a:srgbClr val="002060"/>
                </a:solidFill>
              </a:rPr>
              <a:t>Traceability Matrix</a:t>
            </a:r>
            <a:endParaRPr lang="en-US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29636740"/>
              </p:ext>
            </p:extLst>
          </p:nvPr>
        </p:nvGraphicFramePr>
        <p:xfrm>
          <a:off x="609600" y="1371599"/>
          <a:ext cx="7924800" cy="4648200"/>
        </p:xfrm>
        <a:graphic>
          <a:graphicData uri="http://schemas.openxmlformats.org/drawingml/2006/table">
            <a:tbl>
              <a:tblPr>
                <a:tableStyleId>{35758FB7-9AC5-4552-8A53-C91805E547FA}</a:tableStyleId>
              </a:tblPr>
              <a:tblGrid>
                <a:gridCol w="2975980"/>
                <a:gridCol w="2967620"/>
                <a:gridCol w="1981200"/>
              </a:tblGrid>
              <a:tr h="47919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</a:rPr>
                        <a:t>Test Case Number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</a:rPr>
                        <a:t>DRDR Number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</a:rPr>
                        <a:t>BR Number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598994"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u="none" strike="noStrike" dirty="0">
                          <a:effectLst/>
                        </a:rPr>
                        <a:t>TC_Admin_Login_017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u="none" strike="noStrike" dirty="0">
                          <a:effectLst/>
                        </a:rPr>
                        <a:t>DF_admin_login_01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effectLst/>
                        </a:rPr>
                        <a:t>BR02(Use Cases)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</a:tr>
              <a:tr h="551075"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u="none" strike="noStrike" dirty="0">
                          <a:effectLst/>
                        </a:rPr>
                        <a:t>TC_Admin_Login_018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u="none" strike="noStrike">
                          <a:effectLst/>
                        </a:rPr>
                        <a:t>DF_admin_login_02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effectLst/>
                        </a:rPr>
                        <a:t>BR01(Use Cases)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</a:tr>
              <a:tr h="503156"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u="none" strike="noStrike" dirty="0">
                          <a:effectLst/>
                        </a:rPr>
                        <a:t>TC_Admin_Login_006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u="none" strike="noStrike">
                          <a:effectLst/>
                        </a:rPr>
                        <a:t>DF_admin_login_03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effectLst/>
                        </a:rPr>
                        <a:t>BR03(Use Cases)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</a:tr>
              <a:tr h="503156"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u="none" strike="noStrike">
                          <a:effectLst/>
                        </a:rPr>
                        <a:t>TC_Admin_Login_011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u="none" strike="noStrike" dirty="0">
                          <a:effectLst/>
                        </a:rPr>
                        <a:t>DF_admin_login_04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effectLst/>
                        </a:rPr>
                        <a:t>BR04(Use Cases)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</a:tr>
              <a:tr h="527117"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u="none" strike="noStrike">
                          <a:effectLst/>
                        </a:rPr>
                        <a:t>TC_Admin_Login_02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u="none" strike="noStrike" dirty="0">
                          <a:effectLst/>
                        </a:rPr>
                        <a:t>DF_admin_login_05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effectLst/>
                        </a:rPr>
                        <a:t>BR04(Use Cases)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</a:tr>
              <a:tr h="527117"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u="none" strike="noStrike">
                          <a:effectLst/>
                        </a:rPr>
                        <a:t>TC_Admin_update_021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u="none" strike="noStrike" dirty="0">
                          <a:effectLst/>
                        </a:rPr>
                        <a:t>DF_admin_add_program_06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effectLst/>
                        </a:rPr>
                        <a:t>BR02(LAD Login)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</a:tr>
              <a:tr h="479195"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u="none" strike="noStrike">
                          <a:effectLst/>
                        </a:rPr>
                        <a:t>TC_Admin_update_023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u="none" strike="noStrike">
                          <a:effectLst/>
                        </a:rPr>
                        <a:t>DF_admin_add_program_08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effectLst/>
                        </a:rPr>
                        <a:t>BR01(LAD Login)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</a:tr>
              <a:tr h="479195"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u="none" strike="noStrike">
                          <a:effectLst/>
                        </a:rPr>
                        <a:t>TC_Admin_update_024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u="none" strike="noStrike">
                          <a:effectLst/>
                        </a:rPr>
                        <a:t>DF_admin_add_program_1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effectLst/>
                        </a:rPr>
                        <a:t>BR01(LAD Login)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6798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1"/>
                </a:solidFill>
                <a:latin typeface="Ravie" panose="04040805050809020602" pitchFamily="82" charset="0"/>
              </a:rPr>
              <a:t>QUERIES???</a:t>
            </a:r>
            <a:endParaRPr lang="en-US" dirty="0">
              <a:solidFill>
                <a:schemeClr val="accent1"/>
              </a:solidFill>
              <a:latin typeface="Ravie" panose="04040805050809020602" pitchFamily="8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1230862"/>
            <a:ext cx="8077200" cy="47968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18457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7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997535" y="2967335"/>
            <a:ext cx="314893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ank You</a:t>
            </a:r>
            <a:endParaRPr lang="en-US" sz="5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5" name="Content Placeholder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8200" y="1295400"/>
            <a:ext cx="7532194" cy="4954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39698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TEAM MEMBERS</a:t>
            </a:r>
            <a:endParaRPr lang="en-US" b="1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51020896"/>
              </p:ext>
            </p:extLst>
          </p:nvPr>
        </p:nvGraphicFramePr>
        <p:xfrm>
          <a:off x="457200" y="1066800"/>
          <a:ext cx="8229600" cy="50593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799" y="6334918"/>
            <a:ext cx="3060459" cy="249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1346" y="6080918"/>
            <a:ext cx="3023105" cy="700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604601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30C93B3A-2237-4C70-A356-F50F5A22670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1000"/>
                                        <p:tgtEl>
                                          <p:spTgt spid="5">
                                            <p:graphicEl>
                                              <a:dgm id="{30C93B3A-2237-4C70-A356-F50F5A22670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BFF2F6AF-4C58-4A89-849F-EAD898AC163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1000"/>
                                        <p:tgtEl>
                                          <p:spTgt spid="5">
                                            <p:graphicEl>
                                              <a:dgm id="{BFF2F6AF-4C58-4A89-849F-EAD898AC163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F2200187-A2C7-4B86-A565-FB85E3A0CC1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1000"/>
                                        <p:tgtEl>
                                          <p:spTgt spid="5">
                                            <p:graphicEl>
                                              <a:dgm id="{F2200187-A2C7-4B86-A565-FB85E3A0CC1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48F4252E-DBA7-4B81-89FB-2DA0B8759E9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8" dur="1000"/>
                                        <p:tgtEl>
                                          <p:spTgt spid="5">
                                            <p:graphicEl>
                                              <a:dgm id="{48F4252E-DBA7-4B81-89FB-2DA0B8759E9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567FEDE5-B75E-4C22-BB68-647FFB0B2D9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3" dur="1000"/>
                                        <p:tgtEl>
                                          <p:spTgt spid="5">
                                            <p:graphicEl>
                                              <a:dgm id="{567FEDE5-B75E-4C22-BB68-647FFB0B2D9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694E3BBD-B96B-4903-ABCB-CCB48751F75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6" dur="1000"/>
                                        <p:tgtEl>
                                          <p:spTgt spid="5">
                                            <p:graphicEl>
                                              <a:dgm id="{694E3BBD-B96B-4903-ABCB-CCB48751F75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6BD9C67A-3250-41AE-9171-8E7E11EBF87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1" dur="1000"/>
                                        <p:tgtEl>
                                          <p:spTgt spid="5">
                                            <p:graphicEl>
                                              <a:dgm id="{6BD9C67A-3250-41AE-9171-8E7E11EBF87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19865177-4539-4AAB-8DB2-A0ABEF77F0D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4" dur="1000"/>
                                        <p:tgtEl>
                                          <p:spTgt spid="5">
                                            <p:graphicEl>
                                              <a:dgm id="{19865177-4539-4AAB-8DB2-A0ABEF77F0D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B149B3F3-9279-4348-93F4-D571B9DCAF6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9" dur="1000"/>
                                        <p:tgtEl>
                                          <p:spTgt spid="5">
                                            <p:graphicEl>
                                              <a:dgm id="{B149B3F3-9279-4348-93F4-D571B9DCAF6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3332E62F-1EC4-4D60-A69F-AC7C6895DD0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2" dur="1000"/>
                                        <p:tgtEl>
                                          <p:spTgt spid="5">
                                            <p:graphicEl>
                                              <a:dgm id="{3332E62F-1EC4-4D60-A69F-AC7C6895DD0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4840220C-9ACF-4733-B08C-760FBE1AF60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7" dur="1000"/>
                                        <p:tgtEl>
                                          <p:spTgt spid="5">
                                            <p:graphicEl>
                                              <a:dgm id="{4840220C-9ACF-4733-B08C-760FBE1AF60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799DEE9B-D586-4443-AA54-D03AA915BFA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0" dur="1000"/>
                                        <p:tgtEl>
                                          <p:spTgt spid="5">
                                            <p:graphicEl>
                                              <a:dgm id="{799DEE9B-D586-4443-AA54-D03AA915BFA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61134A02-2F8C-4B53-BED6-5ECF95F82B5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5" dur="1000"/>
                                        <p:tgtEl>
                                          <p:spTgt spid="5">
                                            <p:graphicEl>
                                              <a:dgm id="{61134A02-2F8C-4B53-BED6-5ECF95F82B5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3C49DE50-8F13-4B35-B018-021D11FF83C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8" dur="1000"/>
                                        <p:tgtEl>
                                          <p:spTgt spid="5">
                                            <p:graphicEl>
                                              <a:dgm id="{3C49DE50-8F13-4B35-B018-021D11FF83C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CCF0CF31-70F2-44E9-9B54-181BD9458C7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3" dur="1000"/>
                                        <p:tgtEl>
                                          <p:spTgt spid="5">
                                            <p:graphicEl>
                                              <a:dgm id="{CCF0CF31-70F2-44E9-9B54-181BD9458C7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185EA976-DC99-4B96-9519-34D7E71AAAC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6" dur="1000"/>
                                        <p:tgtEl>
                                          <p:spTgt spid="5">
                                            <p:graphicEl>
                                              <a:dgm id="{185EA976-DC99-4B96-9519-34D7E71AAAC2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Sub>
          <a:bldDgm bld="lvlOne"/>
        </p:bldSub>
      </p:bldGraphic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685800"/>
            <a:ext cx="8458200" cy="5410200"/>
          </a:xfrm>
        </p:spPr>
        <p:txBody>
          <a:bodyPr>
            <a:normAutofit/>
          </a:bodyPr>
          <a:lstStyle/>
          <a:p>
            <a:pPr algn="just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400" b="0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ll MT" panose="02020503060305020303" pitchFamily="18" charset="0"/>
                <a:cs typeface="Arial" panose="020B0604020202020204" pitchFamily="34" charset="0"/>
              </a:rPr>
              <a:t>This </a:t>
            </a:r>
            <a:r>
              <a:rPr lang="en-US" sz="2400" b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ll MT" panose="02020503060305020303" pitchFamily="18" charset="0"/>
                <a:cs typeface="Arial" panose="020B0604020202020204" pitchFamily="34" charset="0"/>
              </a:rPr>
              <a:t>project is </a:t>
            </a:r>
            <a:r>
              <a:rPr lang="en-US" sz="2400" b="0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ll MT" panose="02020503060305020303" pitchFamily="18" charset="0"/>
                <a:cs typeface="Arial" panose="020B0604020202020204" pitchFamily="34" charset="0"/>
              </a:rPr>
              <a:t>designed </a:t>
            </a:r>
            <a:r>
              <a:rPr lang="en-US" sz="2400" b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ll MT" panose="02020503060305020303" pitchFamily="18" charset="0"/>
                <a:cs typeface="Arial" panose="020B0604020202020204" pitchFamily="34" charset="0"/>
              </a:rPr>
              <a:t>to test </a:t>
            </a:r>
            <a:r>
              <a:rPr lang="en-US" sz="2400" b="0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ll MT" panose="02020503060305020303" pitchFamily="18" charset="0"/>
                <a:cs typeface="Arial" panose="020B0604020202020204" pitchFamily="34" charset="0"/>
              </a:rPr>
              <a:t>an online </a:t>
            </a:r>
            <a:r>
              <a:rPr lang="en-US" sz="2400" b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ll MT" panose="02020503060305020303" pitchFamily="18" charset="0"/>
                <a:cs typeface="Arial" panose="020B0604020202020204" pitchFamily="34" charset="0"/>
              </a:rPr>
              <a:t>Loan Application Processing </a:t>
            </a:r>
            <a:r>
              <a:rPr lang="en-US" sz="2400" b="0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ll MT" panose="02020503060305020303" pitchFamily="18" charset="0"/>
                <a:cs typeface="Arial" panose="020B0604020202020204" pitchFamily="34" charset="0"/>
              </a:rPr>
              <a:t>System for bank customers. </a:t>
            </a:r>
            <a:endParaRPr lang="en-US" sz="2400" b="0" dirty="0">
              <a:solidFill>
                <a:schemeClr val="tx1">
                  <a:lumMod val="95000"/>
                  <a:lumOff val="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ell MT" panose="02020503060305020303" pitchFamily="18" charset="0"/>
              <a:cs typeface="Arial" panose="020B0604020202020204" pitchFamily="34" charset="0"/>
            </a:endParaRPr>
          </a:p>
          <a:p>
            <a:pPr algn="just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400" b="0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ll MT" panose="02020503060305020303" pitchFamily="18" charset="0"/>
                <a:cs typeface="Arial" panose="020B0604020202020204" pitchFamily="34" charset="0"/>
              </a:rPr>
              <a:t>This </a:t>
            </a:r>
            <a:r>
              <a:rPr lang="en-US" sz="2400" b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ll MT" panose="02020503060305020303" pitchFamily="18" charset="0"/>
                <a:cs typeface="Arial" panose="020B0604020202020204" pitchFamily="34" charset="0"/>
              </a:rPr>
              <a:t>system can be used to apply </a:t>
            </a:r>
            <a:r>
              <a:rPr lang="en-US" sz="2400" b="0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ll MT" panose="02020503060305020303" pitchFamily="18" charset="0"/>
                <a:cs typeface="Arial" panose="020B0604020202020204" pitchFamily="34" charset="0"/>
              </a:rPr>
              <a:t>loan through online.</a:t>
            </a:r>
          </a:p>
          <a:p>
            <a:pPr algn="just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400" b="0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ll MT" panose="02020503060305020303" pitchFamily="18" charset="0"/>
                <a:cs typeface="Arial" panose="020B0604020202020204" pitchFamily="34" charset="0"/>
              </a:rPr>
              <a:t>This </a:t>
            </a:r>
            <a:r>
              <a:rPr lang="en-US" sz="2400" b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ll MT" panose="02020503060305020303" pitchFamily="18" charset="0"/>
                <a:cs typeface="Arial" panose="020B0604020202020204" pitchFamily="34" charset="0"/>
              </a:rPr>
              <a:t>system </a:t>
            </a:r>
            <a:r>
              <a:rPr lang="en-US" sz="2400" b="0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ll MT" panose="02020503060305020303" pitchFamily="18" charset="0"/>
                <a:cs typeface="Arial" panose="020B0604020202020204" pitchFamily="34" charset="0"/>
              </a:rPr>
              <a:t> is </a:t>
            </a:r>
            <a:r>
              <a:rPr lang="en-US" sz="2400" b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ll MT" panose="02020503060305020303" pitchFamily="18" charset="0"/>
                <a:cs typeface="Arial" panose="020B0604020202020204" pitchFamily="34" charset="0"/>
              </a:rPr>
              <a:t>used by the </a:t>
            </a:r>
            <a:r>
              <a:rPr lang="en-US" sz="2400" b="0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ll MT" panose="02020503060305020303" pitchFamily="18" charset="0"/>
                <a:cs typeface="Arial" panose="020B0604020202020204" pitchFamily="34" charset="0"/>
              </a:rPr>
              <a:t>loan approval department  </a:t>
            </a:r>
            <a:r>
              <a:rPr lang="en-US" sz="2400" b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ll MT" panose="02020503060305020303" pitchFamily="18" charset="0"/>
                <a:cs typeface="Arial" panose="020B0604020202020204" pitchFamily="34" charset="0"/>
              </a:rPr>
              <a:t>member to approve/ reject any loan applied. </a:t>
            </a:r>
          </a:p>
          <a:p>
            <a:pPr algn="just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400" b="0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ll MT" panose="02020503060305020303" pitchFamily="18" charset="0"/>
                <a:cs typeface="Arial" panose="020B0604020202020204" pitchFamily="34" charset="0"/>
              </a:rPr>
              <a:t>LAD has the responsibility to filter the customers for a specific loan on the basis of application data and interview</a:t>
            </a:r>
            <a:r>
              <a:rPr lang="en-US" sz="2400" b="0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ll MT" panose="02020503060305020303" pitchFamily="18" charset="0"/>
                <a:cs typeface="Arial" panose="020B0604020202020204" pitchFamily="34" charset="0"/>
              </a:rPr>
              <a:t>.</a:t>
            </a:r>
          </a:p>
          <a:p>
            <a:pPr algn="just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sz="2400" b="0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ll MT" panose="02020503060305020303" pitchFamily="18" charset="0"/>
                <a:cs typeface="Arial" panose="020B0604020202020204" pitchFamily="34" charset="0"/>
              </a:rPr>
              <a:t>The admin has the responsibility to add new loan plans and manage the  existing loans. </a:t>
            </a:r>
            <a:endParaRPr lang="en-US" sz="2400" b="0" dirty="0">
              <a:solidFill>
                <a:schemeClr val="tx1">
                  <a:lumMod val="95000"/>
                  <a:lumOff val="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ell MT" panose="02020503060305020303" pitchFamily="18" charset="0"/>
              <a:cs typeface="Arial" panose="020B0604020202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endParaRPr lang="en-US" sz="2000" dirty="0" smtClean="0">
              <a:solidFill>
                <a:schemeClr val="tx1"/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1346" y="5730477"/>
            <a:ext cx="3023105" cy="700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505200" y="6431358"/>
            <a:ext cx="2133600" cy="365125"/>
          </a:xfrm>
        </p:spPr>
        <p:txBody>
          <a:bodyPr/>
          <a:lstStyle/>
          <a:p>
            <a:fld id="{98228B8A-B7F7-4AE1-9522-DFDE1528AC71}" type="slidenum">
              <a:rPr lang="en-US" smtClean="0"/>
              <a:t>3</a:t>
            </a:fld>
            <a:endParaRPr lang="en-US" dirty="0"/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199" y="6073375"/>
            <a:ext cx="3060459" cy="249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split orient="vert"/>
      </p:transition>
    </mc:Choice>
    <mc:Fallback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2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2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2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2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2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2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2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2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ctors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4</a:t>
            </a:fld>
            <a:endParaRPr lang="en-US" dirty="0"/>
          </a:p>
        </p:txBody>
      </p:sp>
      <p:sp>
        <p:nvSpPr>
          <p:cNvPr id="19" name="Rounded Rectangle 18"/>
          <p:cNvSpPr/>
          <p:nvPr/>
        </p:nvSpPr>
        <p:spPr>
          <a:xfrm>
            <a:off x="1930166" y="1004829"/>
            <a:ext cx="5154181" cy="550331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ooter Placeholder 3"/>
          <p:cNvSpPr txBox="1">
            <a:spLocks/>
          </p:cNvSpPr>
          <p:nvPr/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Partial Circle 29"/>
          <p:cNvSpPr/>
          <p:nvPr/>
        </p:nvSpPr>
        <p:spPr>
          <a:xfrm>
            <a:off x="1671136" y="1049882"/>
            <a:ext cx="5413211" cy="5413213"/>
          </a:xfrm>
          <a:prstGeom prst="pie">
            <a:avLst>
              <a:gd name="adj1" fmla="val 1666455"/>
              <a:gd name="adj2" fmla="val 5394915"/>
            </a:avLst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317500" dist="38100" dir="8100000" algn="tr" rotWithShape="0">
              <a:schemeClr val="tx1">
                <a:lumMod val="85000"/>
                <a:lumOff val="1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sp>
        <p:nvSpPr>
          <p:cNvPr id="23" name="Partial Circle 26"/>
          <p:cNvSpPr/>
          <p:nvPr/>
        </p:nvSpPr>
        <p:spPr>
          <a:xfrm>
            <a:off x="1671136" y="1056830"/>
            <a:ext cx="5413211" cy="5413213"/>
          </a:xfrm>
          <a:prstGeom prst="pie">
            <a:avLst>
              <a:gd name="adj1" fmla="val 19792777"/>
              <a:gd name="adj2" fmla="val 1789850"/>
            </a:avLst>
          </a:prstGeom>
          <a:solidFill>
            <a:srgbClr val="00ABB5"/>
          </a:solidFill>
          <a:ln>
            <a:noFill/>
          </a:ln>
          <a:effectLst>
            <a:outerShdw blurRad="254000" dist="38100" dir="5400000" sx="103000" sy="103000" algn="t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sp>
        <p:nvSpPr>
          <p:cNvPr id="24" name="Partial Circle 28"/>
          <p:cNvSpPr/>
          <p:nvPr/>
        </p:nvSpPr>
        <p:spPr>
          <a:xfrm>
            <a:off x="1671136" y="1063787"/>
            <a:ext cx="5413211" cy="5108413"/>
          </a:xfrm>
          <a:prstGeom prst="pie">
            <a:avLst>
              <a:gd name="adj1" fmla="val 16126697"/>
              <a:gd name="adj2" fmla="val 19787704"/>
            </a:avLst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254000" dist="38100" dir="2700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994108" y="3242846"/>
            <a:ext cx="25585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spc="300" dirty="0" smtClean="0">
                <a:solidFill>
                  <a:srgbClr val="00206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ACTORS</a:t>
            </a:r>
            <a:endParaRPr lang="en-IN" sz="1600" spc="300" dirty="0">
              <a:solidFill>
                <a:srgbClr val="002060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057400" y="3588603"/>
            <a:ext cx="17038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IN" sz="1200" dirty="0" smtClean="0">
                <a:solidFill>
                  <a:srgbClr val="00206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n Actor represents a user or another system that will interact with the system you are modelling.</a:t>
            </a:r>
            <a:endParaRPr lang="en-IN" sz="1200" dirty="0">
              <a:solidFill>
                <a:srgbClr val="002060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4492620" y="1524000"/>
            <a:ext cx="189113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100" spc="300" dirty="0" smtClean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ADMINISTRATOR</a:t>
            </a:r>
            <a:endParaRPr lang="en-IN" sz="1100" spc="300" dirty="0">
              <a:solidFill>
                <a:schemeClr val="bg1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424064" y="3395990"/>
            <a:ext cx="189113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100" spc="300" dirty="0" smtClean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LAD</a:t>
            </a:r>
            <a:endParaRPr lang="en-IN" sz="1100" spc="300" dirty="0">
              <a:solidFill>
                <a:schemeClr val="bg1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526060" y="4888209"/>
            <a:ext cx="189113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100" spc="300" dirty="0" smtClean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USERS/CUSTOMERS</a:t>
            </a:r>
            <a:endParaRPr lang="en-IN" sz="1100" spc="300" dirty="0">
              <a:solidFill>
                <a:schemeClr val="bg1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481056" y="1752600"/>
            <a:ext cx="19027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dministrator </a:t>
            </a:r>
            <a:r>
              <a:rPr lang="en-US" sz="10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can </a:t>
            </a:r>
            <a:r>
              <a:rPr lang="en-US" sz="10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u</a:t>
            </a:r>
            <a:r>
              <a:rPr lang="en-US" sz="10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date </a:t>
            </a:r>
            <a:r>
              <a:rPr lang="en-US" sz="10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nd Manage the </a:t>
            </a:r>
            <a:r>
              <a:rPr lang="en-US" sz="10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oan Programs .Admin has the authority  to view all the loan applied  in the portal.</a:t>
            </a:r>
            <a:endParaRPr lang="en-IN" sz="10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5410200" y="3657600"/>
            <a:ext cx="147301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0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AD has the authority to approve or reject loans applied  by the customers.</a:t>
            </a:r>
            <a:endParaRPr lang="en-IN" sz="10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512514" y="5130888"/>
            <a:ext cx="14730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User can </a:t>
            </a:r>
            <a:r>
              <a:rPr lang="en-US" sz="10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lace or apply for the loans in the web portal.</a:t>
            </a:r>
            <a:endParaRPr lang="en-US" sz="10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8031" y="3105929"/>
            <a:ext cx="1243004" cy="1161559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9200" y="3505200"/>
            <a:ext cx="466344" cy="466344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2705" y="2743200"/>
            <a:ext cx="466344" cy="466344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7920" y="4353621"/>
            <a:ext cx="466344" cy="466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8233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0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0"/>
                            </p:stCondLst>
                            <p:childTnLst>
                              <p:par>
                                <p:cTn id="17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1" presetClass="entr" presetSubtype="1" fill="hold" nodeType="click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4" dur="19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000"/>
                            </p:stCondLst>
                            <p:childTnLst>
                              <p:par>
                                <p:cTn id="40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1000"/>
                            </p:stCondLst>
                            <p:childTnLst>
                              <p:par>
                                <p:cTn id="5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00"/>
                            </p:stCondLst>
                            <p:childTnLst>
                              <p:par>
                                <p:cTn id="72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1000"/>
                            </p:stCondLst>
                            <p:childTnLst>
                              <p:par>
                                <p:cTn id="76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8" dur="7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2" grpId="0" animBg="1"/>
      <p:bldP spid="23" grpId="0" animBg="1"/>
      <p:bldP spid="24" grpId="0" animBg="1"/>
      <p:bldP spid="25" grpId="0"/>
      <p:bldP spid="26" grpId="0" build="p"/>
      <p:bldP spid="27" grpId="0"/>
      <p:bldP spid="28" grpId="0"/>
      <p:bldP spid="29" grpId="0"/>
      <p:bldP spid="30" grpId="0"/>
      <p:bldP spid="31" grpId="0"/>
      <p:bldP spid="3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60529589"/>
              </p:ext>
            </p:extLst>
          </p:nvPr>
        </p:nvGraphicFramePr>
        <p:xfrm>
          <a:off x="609600" y="1066800"/>
          <a:ext cx="8229600" cy="3886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04800" y="120861"/>
            <a:ext cx="838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 Case</a:t>
            </a:r>
            <a:endParaRPr lang="en-US" sz="4000" b="1" dirty="0">
              <a:latin typeface="Algerian" panose="04020705040A02060702" pitchFamily="8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90047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AsOne/>
      </p:bldGraphic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89"/>
          <a:stretch/>
        </p:blipFill>
        <p:spPr>
          <a:xfrm>
            <a:off x="0" y="0"/>
            <a:ext cx="9105900" cy="6845300"/>
          </a:xfrm>
          <a:prstGeom prst="rect">
            <a:avLst/>
          </a:prstGeom>
        </p:spPr>
      </p:pic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75478775"/>
              </p:ext>
            </p:extLst>
          </p:nvPr>
        </p:nvGraphicFramePr>
        <p:xfrm>
          <a:off x="375486" y="304800"/>
          <a:ext cx="8354927" cy="5638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478127" y="6324600"/>
            <a:ext cx="2133600" cy="365125"/>
          </a:xfrm>
        </p:spPr>
        <p:txBody>
          <a:bodyPr/>
          <a:lstStyle/>
          <a:p>
            <a:fld id="{98228B8A-B7F7-4AE1-9522-DFDE1528AC71}" type="slidenum">
              <a:rPr lang="en-US" smtClean="0"/>
              <a:t>6</a:t>
            </a:fld>
            <a:endParaRPr lang="en-US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2795" y="6144419"/>
            <a:ext cx="3023105" cy="700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799" y="6348405"/>
            <a:ext cx="3060459" cy="249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105188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BE9EA00-B9B6-4BCC-9C6C-11C108A78AF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4">
                                            <p:graphicEl>
                                              <a:dgm id="{FBE9EA00-B9B6-4BCC-9C6C-11C108A78AF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C7EB2B04-53F1-4FE4-A561-5153AD37610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2" dur="2000"/>
                                        <p:tgtEl>
                                          <p:spTgt spid="4">
                                            <p:graphicEl>
                                              <a:dgm id="{C7EB2B04-53F1-4FE4-A561-5153AD37610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61E41578-FCF1-460E-9A78-823EF97AB72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7" dur="2000"/>
                                        <p:tgtEl>
                                          <p:spTgt spid="4">
                                            <p:graphicEl>
                                              <a:dgm id="{61E41578-FCF1-460E-9A78-823EF97AB72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318B32BB-09E3-494A-854B-6C8B7F6E557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0" dur="2000"/>
                                        <p:tgtEl>
                                          <p:spTgt spid="4">
                                            <p:graphicEl>
                                              <a:dgm id="{318B32BB-09E3-494A-854B-6C8B7F6E557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F51F07A-E66A-40B1-A3E4-B6EAD02DD3F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5" dur="2000"/>
                                        <p:tgtEl>
                                          <p:spTgt spid="4">
                                            <p:graphicEl>
                                              <a:dgm id="{2F51F07A-E66A-40B1-A3E4-B6EAD02DD3F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E7E78A6F-27CF-4886-BF13-7E3978BF5CF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8" dur="2000"/>
                                        <p:tgtEl>
                                          <p:spTgt spid="4">
                                            <p:graphicEl>
                                              <a:dgm id="{E7E78A6F-27CF-4886-BF13-7E3978BF5CF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4DC7A574-BDED-4C45-9E07-A51F9691748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3" dur="2000"/>
                                        <p:tgtEl>
                                          <p:spTgt spid="4">
                                            <p:graphicEl>
                                              <a:dgm id="{4DC7A574-BDED-4C45-9E07-A51F96917482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BA33F6DA-C642-4D2F-B6B8-AD2963AB8D9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6" dur="2000"/>
                                        <p:tgtEl>
                                          <p:spTgt spid="4">
                                            <p:graphicEl>
                                              <a:dgm id="{BA33F6DA-C642-4D2F-B6B8-AD2963AB8D9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C1BF0002-BFEE-4375-AC3B-E39C9BB2307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1" dur="2000"/>
                                        <p:tgtEl>
                                          <p:spTgt spid="4">
                                            <p:graphicEl>
                                              <a:dgm id="{C1BF0002-BFEE-4375-AC3B-E39C9BB23078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4C713966-6261-4F78-9F60-804A6A8B81B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4" dur="2000"/>
                                        <p:tgtEl>
                                          <p:spTgt spid="4">
                                            <p:graphicEl>
                                              <a:dgm id="{4C713966-6261-4F78-9F60-804A6A8B81B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41927A8C-CCD5-40CE-80B4-15BA58E63A9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7" dur="2000"/>
                                        <p:tgtEl>
                                          <p:spTgt spid="4">
                                            <p:graphicEl>
                                              <a:dgm id="{41927A8C-CCD5-40CE-80B4-15BA58E63A9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Sub>
          <a:bldDgm bld="lvlOne"/>
        </p:bldSub>
      </p:bldGraphic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>
                <a:solidFill>
                  <a:srgbClr val="002060"/>
                </a:solidFill>
              </a:rPr>
              <a:t>REQUIREMENTS ITEMIZATION</a:t>
            </a:r>
            <a:endParaRPr lang="en-US" sz="3200" b="1" dirty="0">
              <a:latin typeface="Algerian" panose="04020705040A02060702" pitchFamily="82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90600"/>
            <a:ext cx="8229600" cy="5135563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1535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Content Placeholder 44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5564" y="1880731"/>
            <a:ext cx="3375377" cy="3510518"/>
          </a:xfrm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81000" y="228600"/>
            <a:ext cx="8839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dirty="0" smtClean="0">
                <a:solidFill>
                  <a:srgbClr val="002060"/>
                </a:solidFill>
                <a:latin typeface="Candara" panose="020E0502030303020204" pitchFamily="34" charset="0"/>
                <a:ea typeface="+mj-ea"/>
                <a:cs typeface="+mj-cs"/>
              </a:rPr>
              <a:t>REQUIREMENTS VALIDATION &amp; FUNCTIONAL DECOMPOSITION</a:t>
            </a:r>
            <a:endParaRPr lang="en-IN" sz="2400" b="1" dirty="0">
              <a:solidFill>
                <a:srgbClr val="002060"/>
              </a:solidFill>
              <a:latin typeface="Candara" panose="020E0502030303020204" pitchFamily="34" charset="0"/>
              <a:ea typeface="+mj-ea"/>
              <a:cs typeface="+mj-cs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005979" y="3453825"/>
            <a:ext cx="1132041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1" cap="none" spc="0" dirty="0" smtClean="0">
                <a:ln w="10160">
                  <a:noFill/>
                  <a:prstDash val="solid"/>
                </a:ln>
                <a:solidFill>
                  <a:srgbClr val="00206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andara" panose="020E0502030303020204" pitchFamily="34" charset="0"/>
                <a:hlinkClick r:id="rId4" action="ppaction://hlinkfile"/>
              </a:rPr>
              <a:t>RVFD</a:t>
            </a:r>
            <a:endParaRPr lang="en-US" sz="3200" b="1" cap="none" spc="0" dirty="0">
              <a:ln w="10160">
                <a:noFill/>
                <a:prstDash val="solid"/>
              </a:ln>
              <a:solidFill>
                <a:srgbClr val="002060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Candara" panose="020E0502030303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582671" y="2450812"/>
            <a:ext cx="519694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1" dirty="0" smtClean="0">
                <a:ln w="10160">
                  <a:noFill/>
                  <a:prstDash val="solid"/>
                </a:ln>
                <a:solidFill>
                  <a:srgbClr val="00206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andara" panose="020E0502030303020204" pitchFamily="34" charset="0"/>
              </a:rPr>
              <a:t>12</a:t>
            </a:r>
            <a:endParaRPr lang="en-US" sz="3200" b="1" cap="none" spc="0" dirty="0">
              <a:ln w="10160">
                <a:noFill/>
                <a:prstDash val="solid"/>
              </a:ln>
              <a:solidFill>
                <a:srgbClr val="002060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Candara" panose="020E0502030303020204" pitchFamily="34" charset="0"/>
            </a:endParaRPr>
          </a:p>
        </p:txBody>
      </p:sp>
      <p:cxnSp>
        <p:nvCxnSpPr>
          <p:cNvPr id="22" name="Connector: Elbow 55"/>
          <p:cNvCxnSpPr>
            <a:cxnSpLocks/>
          </p:cNvCxnSpPr>
          <p:nvPr/>
        </p:nvCxnSpPr>
        <p:spPr>
          <a:xfrm flipV="1">
            <a:off x="6102364" y="1869186"/>
            <a:ext cx="904037" cy="721616"/>
          </a:xfrm>
          <a:prstGeom prst="bentConnector3">
            <a:avLst>
              <a:gd name="adj1" fmla="val 50000"/>
            </a:avLst>
          </a:prstGeom>
          <a:ln>
            <a:solidFill>
              <a:srgbClr val="002060"/>
            </a:solidFill>
            <a:headEnd type="oval" w="med" len="med"/>
            <a:tailEnd type="oval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Rectangle 22"/>
          <p:cNvSpPr/>
          <p:nvPr/>
        </p:nvSpPr>
        <p:spPr>
          <a:xfrm>
            <a:off x="7107202" y="1669131"/>
            <a:ext cx="2018501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000" b="1" cap="none" spc="0" dirty="0" smtClean="0">
                <a:ln w="10160">
                  <a:noFill/>
                  <a:prstDash val="solid"/>
                </a:ln>
                <a:solidFill>
                  <a:srgbClr val="00206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andara" panose="020E0502030303020204" pitchFamily="34" charset="0"/>
              </a:rPr>
              <a:t>Items in Security</a:t>
            </a:r>
            <a:endParaRPr lang="en-US" sz="2000" b="1" cap="none" spc="0" dirty="0">
              <a:ln w="10160">
                <a:noFill/>
                <a:prstDash val="solid"/>
              </a:ln>
              <a:solidFill>
                <a:srgbClr val="002060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Candara" panose="020E0502030303020204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5362928" y="4403734"/>
            <a:ext cx="598242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0160">
                  <a:noFill/>
                  <a:prstDash val="solid"/>
                </a:ln>
                <a:solidFill>
                  <a:srgbClr val="00206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andara" panose="020E0502030303020204" pitchFamily="34" charset="0"/>
              </a:rPr>
              <a:t>3</a:t>
            </a:r>
            <a:r>
              <a:rPr lang="en-US" sz="3200" b="1" dirty="0" smtClean="0">
                <a:ln w="10160">
                  <a:noFill/>
                  <a:prstDash val="solid"/>
                </a:ln>
                <a:solidFill>
                  <a:srgbClr val="00206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andara" panose="020E0502030303020204" pitchFamily="34" charset="0"/>
              </a:rPr>
              <a:t>8</a:t>
            </a:r>
            <a:endParaRPr lang="en-US" sz="3200" b="1" cap="none" spc="0" dirty="0">
              <a:ln w="10160">
                <a:noFill/>
                <a:prstDash val="solid"/>
              </a:ln>
              <a:solidFill>
                <a:srgbClr val="002060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Candara" panose="020E0502030303020204" pitchFamily="34" charset="0"/>
            </a:endParaRPr>
          </a:p>
        </p:txBody>
      </p:sp>
      <p:cxnSp>
        <p:nvCxnSpPr>
          <p:cNvPr id="25" name="Connector: Elbow 55"/>
          <p:cNvCxnSpPr>
            <a:cxnSpLocks/>
          </p:cNvCxnSpPr>
          <p:nvPr/>
        </p:nvCxnSpPr>
        <p:spPr>
          <a:xfrm>
            <a:off x="5942634" y="4813054"/>
            <a:ext cx="991566" cy="444746"/>
          </a:xfrm>
          <a:prstGeom prst="bentConnector3">
            <a:avLst>
              <a:gd name="adj1" fmla="val 50000"/>
            </a:avLst>
          </a:prstGeom>
          <a:ln>
            <a:solidFill>
              <a:srgbClr val="002060"/>
            </a:solidFill>
            <a:headEnd type="oval" w="med" len="med"/>
            <a:tailEnd type="oval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Rectangle 25"/>
          <p:cNvSpPr/>
          <p:nvPr/>
        </p:nvSpPr>
        <p:spPr>
          <a:xfrm>
            <a:off x="6937406" y="5057745"/>
            <a:ext cx="201208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n-US" sz="2000" b="1" cap="none" spc="0" dirty="0" smtClean="0">
                <a:ln w="10160">
                  <a:noFill/>
                  <a:prstDash val="solid"/>
                </a:ln>
                <a:solidFill>
                  <a:srgbClr val="00206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andara" panose="020E0502030303020204" pitchFamily="34" charset="0"/>
              </a:rPr>
              <a:t>Items in</a:t>
            </a:r>
          </a:p>
          <a:p>
            <a:r>
              <a:rPr lang="en-US" sz="2000" b="1" dirty="0" smtClean="0">
                <a:ln w="10160">
                  <a:noFill/>
                  <a:prstDash val="solid"/>
                </a:ln>
                <a:solidFill>
                  <a:srgbClr val="00206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andara" panose="020E0502030303020204" pitchFamily="34" charset="0"/>
              </a:rPr>
              <a:t>Explicit Function</a:t>
            </a:r>
            <a:endParaRPr lang="en-US" sz="2000" b="1" cap="none" spc="0" dirty="0">
              <a:ln w="10160">
                <a:noFill/>
                <a:prstDash val="solid"/>
              </a:ln>
              <a:solidFill>
                <a:srgbClr val="002060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Candara" panose="020E0502030303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3012371" y="2326421"/>
            <a:ext cx="579005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1" dirty="0" smtClean="0">
                <a:ln w="10160">
                  <a:noFill/>
                  <a:prstDash val="solid"/>
                </a:ln>
                <a:solidFill>
                  <a:srgbClr val="00206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andara" panose="020E0502030303020204" pitchFamily="34" charset="0"/>
              </a:rPr>
              <a:t>22</a:t>
            </a:r>
            <a:endParaRPr lang="en-US" sz="3200" b="1" cap="none" spc="0" dirty="0">
              <a:ln w="10160">
                <a:noFill/>
                <a:prstDash val="solid"/>
              </a:ln>
              <a:solidFill>
                <a:srgbClr val="002060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Candara" panose="020E0502030303020204" pitchFamily="34" charset="0"/>
            </a:endParaRPr>
          </a:p>
        </p:txBody>
      </p:sp>
      <p:cxnSp>
        <p:nvCxnSpPr>
          <p:cNvPr id="28" name="Connector: Elbow 55"/>
          <p:cNvCxnSpPr>
            <a:cxnSpLocks/>
          </p:cNvCxnSpPr>
          <p:nvPr/>
        </p:nvCxnSpPr>
        <p:spPr>
          <a:xfrm rot="10800000">
            <a:off x="2041597" y="1939514"/>
            <a:ext cx="1068382" cy="651287"/>
          </a:xfrm>
          <a:prstGeom prst="bentConnector3">
            <a:avLst>
              <a:gd name="adj1" fmla="val 50000"/>
            </a:avLst>
          </a:prstGeom>
          <a:ln>
            <a:solidFill>
              <a:srgbClr val="002060"/>
            </a:solidFill>
            <a:headEnd type="oval" w="med" len="med"/>
            <a:tailEnd type="oval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" name="Rectangle 28"/>
          <p:cNvSpPr/>
          <p:nvPr/>
        </p:nvSpPr>
        <p:spPr>
          <a:xfrm>
            <a:off x="0" y="1618535"/>
            <a:ext cx="2031325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r"/>
            <a:r>
              <a:rPr lang="en-US" sz="2000" b="1" cap="none" spc="0" dirty="0" smtClean="0">
                <a:ln w="10160">
                  <a:noFill/>
                  <a:prstDash val="solid"/>
                </a:ln>
                <a:solidFill>
                  <a:srgbClr val="00206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andara" panose="020E0502030303020204" pitchFamily="34" charset="0"/>
              </a:rPr>
              <a:t>Items in</a:t>
            </a:r>
          </a:p>
          <a:p>
            <a:pPr algn="r"/>
            <a:r>
              <a:rPr lang="en-US" sz="2000" b="1" dirty="0" smtClean="0">
                <a:ln w="10160">
                  <a:noFill/>
                  <a:prstDash val="solid"/>
                </a:ln>
                <a:solidFill>
                  <a:srgbClr val="00206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andara" panose="020E0502030303020204" pitchFamily="34" charset="0"/>
              </a:rPr>
              <a:t>Implicit Function</a:t>
            </a:r>
            <a:endParaRPr lang="en-US" sz="2000" b="1" cap="none" spc="0" dirty="0">
              <a:ln w="10160">
                <a:noFill/>
                <a:prstDash val="solid"/>
              </a:ln>
              <a:solidFill>
                <a:srgbClr val="002060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Candara" panose="020E0502030303020204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3301875" y="4403734"/>
            <a:ext cx="499742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cap="none" spc="0" dirty="0" smtClean="0">
                <a:ln w="10160">
                  <a:noFill/>
                  <a:prstDash val="solid"/>
                </a:ln>
                <a:solidFill>
                  <a:srgbClr val="00206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andara" panose="020E0502030303020204" pitchFamily="34" charset="0"/>
              </a:rPr>
              <a:t>2</a:t>
            </a:r>
            <a:endParaRPr lang="en-US" sz="3200" b="1" cap="none" spc="0" dirty="0">
              <a:ln w="10160">
                <a:noFill/>
                <a:prstDash val="solid"/>
              </a:ln>
              <a:solidFill>
                <a:srgbClr val="002060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Candara" panose="020E0502030303020204" pitchFamily="34" charset="0"/>
            </a:endParaRPr>
          </a:p>
        </p:txBody>
      </p:sp>
      <p:cxnSp>
        <p:nvCxnSpPr>
          <p:cNvPr id="31" name="Connector: Elbow 55"/>
          <p:cNvCxnSpPr>
            <a:cxnSpLocks/>
          </p:cNvCxnSpPr>
          <p:nvPr/>
        </p:nvCxnSpPr>
        <p:spPr>
          <a:xfrm rot="10800000" flipV="1">
            <a:off x="2133603" y="4828358"/>
            <a:ext cx="1168271" cy="522761"/>
          </a:xfrm>
          <a:prstGeom prst="bentConnector3">
            <a:avLst>
              <a:gd name="adj1" fmla="val 50000"/>
            </a:avLst>
          </a:prstGeom>
          <a:ln>
            <a:solidFill>
              <a:srgbClr val="002060"/>
            </a:solidFill>
            <a:headEnd type="oval" w="med" len="med"/>
            <a:tailEnd type="oval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" name="Rectangle 31"/>
          <p:cNvSpPr/>
          <p:nvPr/>
        </p:nvSpPr>
        <p:spPr>
          <a:xfrm>
            <a:off x="-71595" y="5151065"/>
            <a:ext cx="2281395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000" b="1" cap="none" spc="0" dirty="0" smtClean="0">
                <a:ln w="10160">
                  <a:noFill/>
                  <a:prstDash val="solid"/>
                </a:ln>
                <a:solidFill>
                  <a:srgbClr val="00206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andara" panose="020E0502030303020204" pitchFamily="34" charset="0"/>
              </a:rPr>
              <a:t>Items in Invocation</a:t>
            </a:r>
            <a:endParaRPr lang="en-US" sz="2000" b="1" cap="none" spc="0" dirty="0">
              <a:ln w="10160">
                <a:noFill/>
                <a:prstDash val="solid"/>
              </a:ln>
              <a:solidFill>
                <a:srgbClr val="002060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Candara" panose="020E0502030303020204" pitchFamily="34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4401357" y="1721287"/>
            <a:ext cx="378630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1" cap="none" spc="0" dirty="0" smtClean="0">
                <a:ln w="10160">
                  <a:noFill/>
                  <a:prstDash val="solid"/>
                </a:ln>
                <a:solidFill>
                  <a:srgbClr val="00206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andara" panose="020E0502030303020204" pitchFamily="34" charset="0"/>
              </a:rPr>
              <a:t>3</a:t>
            </a:r>
            <a:endParaRPr lang="en-US" sz="3200" b="1" cap="none" spc="0" dirty="0">
              <a:ln w="10160">
                <a:noFill/>
                <a:prstDash val="solid"/>
              </a:ln>
              <a:solidFill>
                <a:srgbClr val="002060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Candara" panose="020E0502030303020204" pitchFamily="34" charset="0"/>
            </a:endParaRPr>
          </a:p>
        </p:txBody>
      </p:sp>
      <p:cxnSp>
        <p:nvCxnSpPr>
          <p:cNvPr id="34" name="Straight Arrow Connector 33"/>
          <p:cNvCxnSpPr/>
          <p:nvPr/>
        </p:nvCxnSpPr>
        <p:spPr>
          <a:xfrm flipV="1">
            <a:off x="4593771" y="1312107"/>
            <a:ext cx="0" cy="528495"/>
          </a:xfrm>
          <a:prstGeom prst="straightConnector1">
            <a:avLst/>
          </a:prstGeom>
          <a:ln w="9525">
            <a:solidFill>
              <a:srgbClr val="00206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/>
          <p:cNvSpPr/>
          <p:nvPr/>
        </p:nvSpPr>
        <p:spPr>
          <a:xfrm>
            <a:off x="3419781" y="918287"/>
            <a:ext cx="2455416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000" b="1" cap="none" spc="0" dirty="0" smtClean="0">
                <a:ln w="10160">
                  <a:noFill/>
                  <a:prstDash val="solid"/>
                </a:ln>
                <a:solidFill>
                  <a:srgbClr val="00206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andara" panose="020E0502030303020204" pitchFamily="34" charset="0"/>
              </a:rPr>
              <a:t>Items in Termination</a:t>
            </a:r>
            <a:endParaRPr lang="en-US" sz="2000" b="1" cap="none" spc="0" dirty="0">
              <a:ln w="10160">
                <a:noFill/>
                <a:prstDash val="solid"/>
              </a:ln>
              <a:solidFill>
                <a:srgbClr val="002060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Candara" panose="020E0502030303020204" pitchFamily="34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5828024" y="3418360"/>
            <a:ext cx="404278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0160">
                  <a:noFill/>
                  <a:prstDash val="solid"/>
                </a:ln>
                <a:solidFill>
                  <a:srgbClr val="00206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andara" panose="020E0502030303020204" pitchFamily="34" charset="0"/>
              </a:rPr>
              <a:t>8</a:t>
            </a:r>
            <a:endParaRPr lang="en-US" sz="3200" b="1" cap="none" spc="0" dirty="0">
              <a:ln w="10160">
                <a:noFill/>
                <a:prstDash val="solid"/>
              </a:ln>
              <a:solidFill>
                <a:srgbClr val="002060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Candara" panose="020E0502030303020204" pitchFamily="34" charset="0"/>
            </a:endParaRPr>
          </a:p>
        </p:txBody>
      </p:sp>
      <p:cxnSp>
        <p:nvCxnSpPr>
          <p:cNvPr id="37" name="Straight Arrow Connector 36"/>
          <p:cNvCxnSpPr/>
          <p:nvPr/>
        </p:nvCxnSpPr>
        <p:spPr>
          <a:xfrm flipV="1">
            <a:off x="6258435" y="3710747"/>
            <a:ext cx="675765" cy="10076"/>
          </a:xfrm>
          <a:prstGeom prst="straightConnector1">
            <a:avLst/>
          </a:prstGeom>
          <a:ln w="9525">
            <a:solidFill>
              <a:srgbClr val="00206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/>
          <p:cNvSpPr/>
          <p:nvPr/>
        </p:nvSpPr>
        <p:spPr>
          <a:xfrm>
            <a:off x="6934200" y="3420512"/>
            <a:ext cx="1617751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n-US" sz="2000" b="1" cap="none" spc="0" dirty="0" smtClean="0">
                <a:ln w="10160">
                  <a:noFill/>
                  <a:prstDash val="solid"/>
                </a:ln>
                <a:solidFill>
                  <a:srgbClr val="00206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andara" panose="020E0502030303020204" pitchFamily="34" charset="0"/>
              </a:rPr>
              <a:t>Items in</a:t>
            </a:r>
          </a:p>
          <a:p>
            <a:r>
              <a:rPr lang="en-US" sz="2000" b="1" dirty="0" smtClean="0">
                <a:ln w="10160">
                  <a:noFill/>
                  <a:prstDash val="solid"/>
                </a:ln>
                <a:solidFill>
                  <a:srgbClr val="00206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andara" panose="020E0502030303020204" pitchFamily="34" charset="0"/>
              </a:rPr>
              <a:t>File Handling</a:t>
            </a:r>
            <a:endParaRPr lang="en-US" sz="2000" b="1" cap="none" spc="0" dirty="0">
              <a:ln w="10160">
                <a:noFill/>
                <a:prstDash val="solid"/>
              </a:ln>
              <a:solidFill>
                <a:srgbClr val="002060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Candara" panose="020E0502030303020204" pitchFamily="34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2822079" y="3425801"/>
            <a:ext cx="575800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1" dirty="0" smtClean="0">
                <a:ln w="10160">
                  <a:noFill/>
                  <a:prstDash val="solid"/>
                </a:ln>
                <a:solidFill>
                  <a:srgbClr val="00206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andara" panose="020E0502030303020204" pitchFamily="34" charset="0"/>
              </a:rPr>
              <a:t>23</a:t>
            </a:r>
            <a:endParaRPr lang="en-US" sz="3200" b="1" cap="none" spc="0" dirty="0">
              <a:ln w="10160">
                <a:noFill/>
                <a:prstDash val="solid"/>
              </a:ln>
              <a:solidFill>
                <a:srgbClr val="002060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Candara" panose="020E0502030303020204" pitchFamily="34" charset="0"/>
            </a:endParaRPr>
          </a:p>
        </p:txBody>
      </p:sp>
      <p:cxnSp>
        <p:nvCxnSpPr>
          <p:cNvPr id="40" name="Straight Arrow Connector 39"/>
          <p:cNvCxnSpPr/>
          <p:nvPr/>
        </p:nvCxnSpPr>
        <p:spPr>
          <a:xfrm>
            <a:off x="2133600" y="3738352"/>
            <a:ext cx="751965" cy="0"/>
          </a:xfrm>
          <a:prstGeom prst="straightConnector1">
            <a:avLst/>
          </a:prstGeom>
          <a:ln w="9525">
            <a:solidFill>
              <a:srgbClr val="00206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/>
          <p:cNvSpPr/>
          <p:nvPr/>
        </p:nvSpPr>
        <p:spPr>
          <a:xfrm>
            <a:off x="515849" y="3392269"/>
            <a:ext cx="1805302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r"/>
            <a:r>
              <a:rPr lang="en-US" sz="2000" b="1" cap="none" spc="0" dirty="0" smtClean="0">
                <a:ln w="10160">
                  <a:noFill/>
                  <a:prstDash val="solid"/>
                </a:ln>
                <a:solidFill>
                  <a:srgbClr val="00206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andara" panose="020E0502030303020204" pitchFamily="34" charset="0"/>
              </a:rPr>
              <a:t>Items in</a:t>
            </a:r>
          </a:p>
          <a:p>
            <a:pPr algn="r"/>
            <a:r>
              <a:rPr lang="en-US" sz="2000" b="1" dirty="0" smtClean="0">
                <a:ln w="10160">
                  <a:noFill/>
                  <a:prstDash val="solid"/>
                </a:ln>
                <a:solidFill>
                  <a:srgbClr val="00206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andara" panose="020E0502030303020204" pitchFamily="34" charset="0"/>
              </a:rPr>
              <a:t>Error Handling</a:t>
            </a:r>
            <a:endParaRPr lang="en-US" sz="2000" b="1" cap="none" spc="0" dirty="0">
              <a:ln w="10160">
                <a:noFill/>
                <a:prstDash val="solid"/>
              </a:ln>
              <a:solidFill>
                <a:srgbClr val="002060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Candara" panose="020E0502030303020204" pitchFamily="34" charset="0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4353936" y="4858677"/>
            <a:ext cx="404278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10160">
                  <a:noFill/>
                  <a:prstDash val="solid"/>
                </a:ln>
                <a:solidFill>
                  <a:srgbClr val="00206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andara" panose="020E0502030303020204" pitchFamily="34" charset="0"/>
              </a:rPr>
              <a:t>4</a:t>
            </a:r>
            <a:endParaRPr lang="en-US" sz="3200" b="1" cap="none" spc="0" dirty="0">
              <a:ln w="10160">
                <a:noFill/>
                <a:prstDash val="solid"/>
              </a:ln>
              <a:solidFill>
                <a:srgbClr val="002060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Candara" panose="020E0502030303020204" pitchFamily="34" charset="0"/>
            </a:endParaRPr>
          </a:p>
        </p:txBody>
      </p:sp>
      <p:cxnSp>
        <p:nvCxnSpPr>
          <p:cNvPr id="43" name="Straight Arrow Connector 42"/>
          <p:cNvCxnSpPr/>
          <p:nvPr/>
        </p:nvCxnSpPr>
        <p:spPr>
          <a:xfrm flipV="1">
            <a:off x="4554472" y="5481687"/>
            <a:ext cx="0" cy="528495"/>
          </a:xfrm>
          <a:prstGeom prst="straightConnector1">
            <a:avLst/>
          </a:prstGeom>
          <a:ln w="9525">
            <a:solidFill>
              <a:srgbClr val="00206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3"/>
          <p:cNvSpPr/>
          <p:nvPr/>
        </p:nvSpPr>
        <p:spPr>
          <a:xfrm>
            <a:off x="3555611" y="6046098"/>
            <a:ext cx="1923925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000" b="1" cap="none" spc="0" dirty="0" smtClean="0">
                <a:ln w="10160">
                  <a:noFill/>
                  <a:prstDash val="solid"/>
                </a:ln>
                <a:solidFill>
                  <a:srgbClr val="00206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andara" panose="020E0502030303020204" pitchFamily="34" charset="0"/>
              </a:rPr>
              <a:t>Items in System</a:t>
            </a:r>
            <a:endParaRPr lang="en-US" sz="2000" b="1" cap="none" spc="0" dirty="0">
              <a:ln w="10160">
                <a:noFill/>
                <a:prstDash val="solid"/>
              </a:ln>
              <a:solidFill>
                <a:srgbClr val="002060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47028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000"/>
                            </p:stCondLst>
                            <p:childTnLst>
                              <p:par>
                                <p:cTn id="36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2500"/>
                            </p:stCondLst>
                            <p:childTnLst>
                              <p:par>
                                <p:cTn id="46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3000"/>
                            </p:stCondLst>
                            <p:childTnLst>
                              <p:par>
                                <p:cTn id="5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3500"/>
                            </p:stCondLst>
                            <p:childTnLst>
                              <p:par>
                                <p:cTn id="66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8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4000"/>
                            </p:stCondLst>
                            <p:childTnLst>
                              <p:par>
                                <p:cTn id="76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4500"/>
                            </p:stCondLst>
                            <p:childTnLst>
                              <p:par>
                                <p:cTn id="8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1" grpId="0"/>
      <p:bldP spid="23" grpId="0"/>
      <p:bldP spid="24" grpId="0"/>
      <p:bldP spid="26" grpId="0"/>
      <p:bldP spid="27" grpId="0"/>
      <p:bldP spid="29" grpId="0"/>
      <p:bldP spid="30" grpId="0"/>
      <p:bldP spid="32" grpId="0"/>
      <p:bldP spid="33" grpId="0"/>
      <p:bldP spid="35" grpId="0"/>
      <p:bldP spid="36" grpId="0"/>
      <p:bldP spid="38" grpId="0"/>
      <p:bldP spid="39" grpId="0"/>
      <p:bldP spid="41" grpId="0"/>
      <p:bldP spid="42" grpId="0"/>
      <p:bldP spid="4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n-US" sz="4800" b="1" dirty="0"/>
              <a:t>DFDR</a:t>
            </a:r>
            <a:endParaRPr lang="en-US" sz="4800" b="1" dirty="0">
              <a:latin typeface="Algerian" panose="04020705040A02060702" pitchFamily="82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9</a:t>
            </a:fld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971800" y="6123426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8229600" cy="4983163"/>
          </a:xfrm>
        </p:spPr>
        <p:txBody>
          <a:bodyPr/>
          <a:lstStyle/>
          <a:p>
            <a:pPr marL="0" indent="0">
              <a:lnSpc>
                <a:spcPct val="150000"/>
              </a:lnSpc>
              <a:buNone/>
            </a:pPr>
            <a:r>
              <a:rPr lang="en-US" dirty="0">
                <a:solidFill>
                  <a:srgbClr val="002060"/>
                </a:solidFill>
              </a:rPr>
              <a:t>A Defect is an error in coding or logic that causes a program to malfunction or to produce incorrect/unexpected results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dirty="0" smtClean="0">
                <a:solidFill>
                  <a:srgbClr val="002060"/>
                </a:solidFill>
              </a:rPr>
              <a:t>Total no of Defects found :54 </a:t>
            </a:r>
            <a:endParaRPr lang="en-US" dirty="0">
              <a:solidFill>
                <a:srgbClr val="002060"/>
              </a:solidFill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dirty="0">
                <a:solidFill>
                  <a:srgbClr val="002060"/>
                </a:solidFill>
              </a:rPr>
              <a:t>No. of Defects </a:t>
            </a:r>
            <a:r>
              <a:rPr lang="en-US" dirty="0" smtClean="0">
                <a:solidFill>
                  <a:srgbClr val="002060"/>
                </a:solidFill>
              </a:rPr>
              <a:t>found in admin: 20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dirty="0">
                <a:solidFill>
                  <a:srgbClr val="002060"/>
                </a:solidFill>
              </a:rPr>
              <a:t>No. of Defects found in </a:t>
            </a:r>
            <a:r>
              <a:rPr lang="en-US" dirty="0" smtClean="0">
                <a:solidFill>
                  <a:srgbClr val="002060"/>
                </a:solidFill>
              </a:rPr>
              <a:t>customer: 17</a:t>
            </a:r>
            <a:endParaRPr lang="en-US" dirty="0">
              <a:solidFill>
                <a:srgbClr val="002060"/>
              </a:solidFill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US" dirty="0">
                <a:solidFill>
                  <a:srgbClr val="002060"/>
                </a:solidFill>
              </a:rPr>
              <a:t>No. of Defects found in </a:t>
            </a:r>
            <a:r>
              <a:rPr lang="en-US" dirty="0" smtClean="0">
                <a:solidFill>
                  <a:srgbClr val="002060"/>
                </a:solidFill>
              </a:rPr>
              <a:t>LAD: 17</a:t>
            </a:r>
            <a:endParaRPr lang="en-US" dirty="0">
              <a:solidFill>
                <a:srgbClr val="002060"/>
              </a:solidFill>
            </a:endParaRPr>
          </a:p>
          <a:p>
            <a:pPr marL="0" indent="0">
              <a:lnSpc>
                <a:spcPct val="150000"/>
              </a:lnSpc>
              <a:buNone/>
            </a:pPr>
            <a:endParaRPr lang="en-US" dirty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5978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>
    <a:spDef>
      <a:spPr>
        <a:solidFill>
          <a:srgbClr val="00B0F0"/>
        </a:solidFill>
        <a:ln>
          <a:noFill/>
        </a:ln>
      </a:spPr>
      <a:bodyPr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erspec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alpha val="100000"/>
                <a:satMod val="160000"/>
                <a:lumMod val="105000"/>
              </a:schemeClr>
            </a:gs>
            <a:gs pos="41000">
              <a:schemeClr val="phClr">
                <a:tint val="57000"/>
                <a:satMod val="180000"/>
                <a:lumMod val="99000"/>
              </a:schemeClr>
            </a:gs>
            <a:gs pos="100000">
              <a:schemeClr val="phClr">
                <a:tint val="80000"/>
                <a:satMod val="200000"/>
                <a:lumMod val="104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96000"/>
                <a:satMod val="130000"/>
                <a:lumMod val="114000"/>
              </a:schemeClr>
            </a:gs>
            <a:gs pos="60000">
              <a:schemeClr val="phClr">
                <a:tint val="100000"/>
                <a:satMod val="106000"/>
                <a:lumMod val="110000"/>
              </a:schemeClr>
            </a:gs>
            <a:gs pos="100000">
              <a:schemeClr val="phClr"/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28000"/>
              </a:srgbClr>
            </a:outerShdw>
          </a:effectLst>
        </a:effectStyle>
        <a:effectStyle>
          <a:effectLst>
            <a:outerShdw blurRad="47625" dist="38100" dir="5400000" sy="98000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twoPt" dir="br">
              <a:rot lat="0" lon="0" rev="8700000"/>
            </a:lightRig>
          </a:scene3d>
          <a:sp3d prstMaterial="matte">
            <a:bevelT w="25400" h="53975"/>
          </a:sp3d>
        </a:effectStyle>
        <a:effectStyle>
          <a:effectLst>
            <a:reflection blurRad="12700" stA="24000" endPos="28000" dist="50800" dir="5400000" sy="-100000" rotWithShape="0"/>
          </a:effectLst>
          <a:scene3d>
            <a:camera prst="orthographicFront">
              <a:rot lat="0" lon="0" rev="0"/>
            </a:camera>
            <a:lightRig rig="threePt" dir="t">
              <a:rot lat="0" lon="0" rev="4800000"/>
            </a:lightRig>
          </a:scene3d>
          <a:sp3d>
            <a:bevelT w="69850" h="3175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27</TotalTime>
  <Words>431</Words>
  <Application>Microsoft Office PowerPoint</Application>
  <PresentationFormat>On-screen Show (4:3)</PresentationFormat>
  <Paragraphs>122</Paragraphs>
  <Slides>17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7</vt:i4>
      </vt:variant>
    </vt:vector>
  </HeadingPairs>
  <TitlesOfParts>
    <vt:vector size="19" baseType="lpstr">
      <vt:lpstr>Executive</vt:lpstr>
      <vt:lpstr>Office Theme</vt:lpstr>
      <vt:lpstr>PowerPoint Presentation</vt:lpstr>
      <vt:lpstr>TEAM MEMBERS</vt:lpstr>
      <vt:lpstr>PowerPoint Presentation</vt:lpstr>
      <vt:lpstr>Actors</vt:lpstr>
      <vt:lpstr>PowerPoint Presentation</vt:lpstr>
      <vt:lpstr>PowerPoint Presentation</vt:lpstr>
      <vt:lpstr>REQUIREMENTS ITEMIZATION</vt:lpstr>
      <vt:lpstr>PowerPoint Presentation</vt:lpstr>
      <vt:lpstr>DFDR</vt:lpstr>
      <vt:lpstr>Defects Found…</vt:lpstr>
      <vt:lpstr>PowerPoint Presentation</vt:lpstr>
      <vt:lpstr>Test Case Adequacy :</vt:lpstr>
      <vt:lpstr>Test Case Effectiveness:</vt:lpstr>
      <vt:lpstr>Traceability Matrix</vt:lpstr>
      <vt:lpstr>Traceability Matrix</vt:lpstr>
      <vt:lpstr>QUERIES???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Balakrishnan, Raj Subash</cp:lastModifiedBy>
  <cp:revision>176</cp:revision>
  <dcterms:created xsi:type="dcterms:W3CDTF">2015-08-27T08:52:20Z</dcterms:created>
  <dcterms:modified xsi:type="dcterms:W3CDTF">2018-01-29T13:25:57Z</dcterms:modified>
</cp:coreProperties>
</file>